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7.xml" ContentType="application/vnd.openxmlformats-officedocument.theme+xml"/>
  <Override PartName="/ppt/slideLayouts/slideLayout146.xml" ContentType="application/vnd.openxmlformats-officedocument.presentationml.slideLayout+xml"/>
  <Override PartName="/ppt/theme/theme8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3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692" r:id="rId5"/>
    <p:sldMasterId id="2147483732" r:id="rId6"/>
    <p:sldMasterId id="2147483745" r:id="rId7"/>
    <p:sldMasterId id="2147483774" r:id="rId8"/>
    <p:sldMasterId id="2147483788" r:id="rId9"/>
    <p:sldMasterId id="2147483823" r:id="rId10"/>
    <p:sldMasterId id="2147483831" r:id="rId11"/>
  </p:sldMasterIdLst>
  <p:notesMasterIdLst>
    <p:notesMasterId r:id="rId36"/>
  </p:notesMasterIdLst>
  <p:sldIdLst>
    <p:sldId id="854" r:id="rId12"/>
    <p:sldId id="876" r:id="rId13"/>
    <p:sldId id="855" r:id="rId14"/>
    <p:sldId id="856" r:id="rId15"/>
    <p:sldId id="878" r:id="rId16"/>
    <p:sldId id="858" r:id="rId17"/>
    <p:sldId id="859" r:id="rId18"/>
    <p:sldId id="860" r:id="rId19"/>
    <p:sldId id="861" r:id="rId20"/>
    <p:sldId id="862" r:id="rId21"/>
    <p:sldId id="870" r:id="rId22"/>
    <p:sldId id="877" r:id="rId23"/>
    <p:sldId id="872" r:id="rId24"/>
    <p:sldId id="873" r:id="rId25"/>
    <p:sldId id="871" r:id="rId26"/>
    <p:sldId id="863" r:id="rId27"/>
    <p:sldId id="874" r:id="rId28"/>
    <p:sldId id="864" r:id="rId29"/>
    <p:sldId id="865" r:id="rId30"/>
    <p:sldId id="866" r:id="rId31"/>
    <p:sldId id="867" r:id="rId32"/>
    <p:sldId id="868" r:id="rId33"/>
    <p:sldId id="857" r:id="rId34"/>
    <p:sldId id="875" r:id="rId35"/>
  </p:sldIdLst>
  <p:sldSz cx="14630400" cy="8229600"/>
  <p:notesSz cx="6797675" cy="9926638"/>
  <p:defaultTextStyle>
    <a:defPPr>
      <a:defRPr lang="en-US"/>
    </a:defPPr>
    <a:lvl1pPr marL="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1pPr>
    <a:lvl2pPr marL="65311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2pPr>
    <a:lvl3pPr marL="130622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3pPr>
    <a:lvl4pPr marL="195933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4pPr>
    <a:lvl5pPr marL="261244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5pPr>
    <a:lvl6pPr marL="326555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6pPr>
    <a:lvl7pPr marL="391866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7pPr>
    <a:lvl8pPr marL="457177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8pPr>
    <a:lvl9pPr marL="5224882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>
          <p15:clr>
            <a:srgbClr val="A4A3A4"/>
          </p15:clr>
        </p15:guide>
        <p15:guide id="2" pos="460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1" d="100"/>
          <a:sy n="71" d="100"/>
        </p:scale>
        <p:origin x="720" y="54"/>
      </p:cViewPr>
      <p:guideLst>
        <p:guide orient="horz" pos="2592"/>
        <p:guide pos="460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6E1777-4FAE-436A-BD9F-1BB1E42E346A}" type="datetimeFigureOut">
              <a:rPr lang="en-GB" smtClean="0"/>
              <a:t>18/11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ED4650-C21B-42F5-A7D5-7DD5C160965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685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1DE27E-9591-4FEA-9A9E-6516A54560A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2767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0D5B6C-1244-934A-8B63-B8AFD9CBEA8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36333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68325" y="863600"/>
            <a:ext cx="7669213" cy="43148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Tahoma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AEDDE8-22C0-6F4F-8610-C73569734FA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288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988ED5-9844-4F7D-8BF3-633613606E55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68780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6.jpeg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1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6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4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5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9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1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7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8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9.png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9.png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4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4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3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4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58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3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5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3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4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7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8.bin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59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60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61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9.pn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9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7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0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0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2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9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7.png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12CB3A-8251-4C9C-9EC4-5E78247A68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28800" y="1346836"/>
            <a:ext cx="10972800" cy="2865120"/>
          </a:xfrm>
        </p:spPr>
        <p:txBody>
          <a:bodyPr anchor="b"/>
          <a:lstStyle>
            <a:lvl1pPr algn="ctr">
              <a:defRPr sz="5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87B473A-1DE3-4EA0-BAAD-650207630C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322446"/>
            <a:ext cx="10972800" cy="1986914"/>
          </a:xfrm>
        </p:spPr>
        <p:txBody>
          <a:bodyPr/>
          <a:lstStyle>
            <a:lvl1pPr marL="0" indent="0" algn="ctr">
              <a:buNone/>
              <a:defRPr sz="2160"/>
            </a:lvl1pPr>
            <a:lvl2pPr marL="411480" indent="0" algn="ctr">
              <a:buNone/>
              <a:defRPr sz="1800"/>
            </a:lvl2pPr>
            <a:lvl3pPr marL="822960" indent="0" algn="ctr">
              <a:buNone/>
              <a:defRPr sz="1620"/>
            </a:lvl3pPr>
            <a:lvl4pPr marL="1234440" indent="0" algn="ctr">
              <a:buNone/>
              <a:defRPr sz="1440"/>
            </a:lvl4pPr>
            <a:lvl5pPr marL="1645920" indent="0" algn="ctr">
              <a:buNone/>
              <a:defRPr sz="1440"/>
            </a:lvl5pPr>
            <a:lvl6pPr marL="2057400" indent="0" algn="ctr">
              <a:buNone/>
              <a:defRPr sz="1440"/>
            </a:lvl6pPr>
            <a:lvl7pPr marL="2468880" indent="0" algn="ctr">
              <a:buNone/>
              <a:defRPr sz="1440"/>
            </a:lvl7pPr>
            <a:lvl8pPr marL="2880360" indent="0" algn="ctr">
              <a:buNone/>
              <a:defRPr sz="1440"/>
            </a:lvl8pPr>
            <a:lvl9pPr marL="3291840" indent="0" algn="ctr">
              <a:buNone/>
              <a:defRPr sz="144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F9E39C-5919-4426-9089-82117EE740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CB04A1-F96F-44A8-9EC7-C92D45533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9883FE-A935-4367-933C-7E60086DA2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1105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DC4509-3C66-45D6-BEDD-D612A9F5F6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6891FAA-3B36-43E1-B909-8C8FB8877F8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ACCF5C-3DB4-4372-8640-CCD2910A11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2B4E16-4B03-4BAA-9BD7-46209F7EA3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EA17B5-B66F-4F05-B265-C52693361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6552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 userDrawn="1"/>
        </p:nvSpPr>
        <p:spPr>
          <a:xfrm>
            <a:off x="-20320" y="-33332"/>
            <a:ext cx="14650720" cy="826293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black"/>
              </a:solidFill>
            </a:endParaRPr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34721" y="1634272"/>
            <a:ext cx="4592037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Subsec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9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24839" y="212289"/>
            <a:ext cx="4161650" cy="127783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01.1</a:t>
            </a:r>
          </a:p>
        </p:txBody>
      </p:sp>
      <p:pic>
        <p:nvPicPr>
          <p:cNvPr id="13" name="Imagen 12" descr="logo_blanc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32350" y="553723"/>
            <a:ext cx="2304298" cy="678059"/>
          </a:xfrm>
          <a:prstGeom prst="rect">
            <a:avLst/>
          </a:prstGeom>
        </p:spPr>
      </p:pic>
      <p:sp>
        <p:nvSpPr>
          <p:cNvPr id="11" name="Rectángulo 10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““Coca-Cola” and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Lippincot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Ribbon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prstClr val="white"/>
              </a:solidFill>
              <a:ea typeface="ＭＳ Ｐゴシック" charset="0"/>
            </a:endParaRPr>
          </a:p>
        </p:txBody>
      </p:sp>
      <p:pic>
        <p:nvPicPr>
          <p:cNvPr id="14" name="Imagen 13" descr="Lippincot_blanco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28217"/>
            <a:ext cx="14630400" cy="283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77353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 userDrawn="1"/>
        </p:nvSpPr>
        <p:spPr>
          <a:xfrm>
            <a:off x="-20320" y="-33332"/>
            <a:ext cx="14650720" cy="82629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black"/>
              </a:solidFill>
            </a:endParaRPr>
          </a:p>
        </p:txBody>
      </p:sp>
      <p:sp>
        <p:nvSpPr>
          <p:cNvPr id="6" name="CuadroTexto 5"/>
          <p:cNvSpPr txBox="1"/>
          <p:nvPr userDrawn="1"/>
        </p:nvSpPr>
        <p:spPr>
          <a:xfrm>
            <a:off x="5400965" y="3724953"/>
            <a:ext cx="422451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_tradnl" sz="3240" b="1" dirty="0" err="1">
                <a:solidFill>
                  <a:srgbClr val="F40009"/>
                </a:solidFill>
                <a:ea typeface="ＭＳ Ｐゴシック" charset="0"/>
              </a:rPr>
              <a:t>Thank</a:t>
            </a:r>
            <a:r>
              <a:rPr lang="es-ES_tradnl" sz="3240" b="1" dirty="0">
                <a:solidFill>
                  <a:srgbClr val="F40009"/>
                </a:solidFill>
                <a:ea typeface="ＭＳ Ｐゴシック" charset="0"/>
              </a:rPr>
              <a:t> </a:t>
            </a:r>
            <a:r>
              <a:rPr lang="es-ES_tradnl" sz="3240" b="1" dirty="0" err="1">
                <a:solidFill>
                  <a:srgbClr val="F40009"/>
                </a:solidFill>
                <a:ea typeface="ＭＳ Ｐゴシック" charset="0"/>
              </a:rPr>
              <a:t>you</a:t>
            </a:r>
            <a:r>
              <a:rPr lang="es-ES_tradnl" sz="3240" b="1" dirty="0">
                <a:solidFill>
                  <a:srgbClr val="F40009"/>
                </a:solidFill>
                <a:ea typeface="ＭＳ Ｐゴシック" charset="0"/>
              </a:rPr>
              <a:t>!</a:t>
            </a:r>
          </a:p>
        </p:txBody>
      </p:sp>
      <p:pic>
        <p:nvPicPr>
          <p:cNvPr id="9" name="Imagen 8" descr="logo_rojo_positiv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5386" y="6975076"/>
            <a:ext cx="3219592" cy="941981"/>
          </a:xfrm>
          <a:prstGeom prst="rect">
            <a:avLst/>
          </a:prstGeom>
        </p:spPr>
      </p:pic>
      <p:sp>
        <p:nvSpPr>
          <p:cNvPr id="7" name="Rectángulo 6"/>
          <p:cNvSpPr/>
          <p:nvPr userDrawn="1"/>
        </p:nvSpPr>
        <p:spPr>
          <a:xfrm>
            <a:off x="624838" y="7956905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““Coca-Cola”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prstClr val="white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690987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920245"/>
            <a:ext cx="13167360" cy="54311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35"/>
            <a:ext cx="3413760" cy="438150"/>
          </a:xfrm>
          <a:prstGeom prst="rect">
            <a:avLst/>
          </a:prstGeom>
        </p:spPr>
        <p:txBody>
          <a:bodyPr/>
          <a:lstStyle/>
          <a:p>
            <a:fld id="{AA741776-2651-4ADB-9FEA-9A82EB4CD10E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0" y="7627635"/>
            <a:ext cx="4632960" cy="438150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0" y="7627635"/>
            <a:ext cx="3413760" cy="438150"/>
          </a:xfrm>
          <a:prstGeom prst="rect">
            <a:avLst/>
          </a:prstGeom>
        </p:spPr>
        <p:txBody>
          <a:bodyPr/>
          <a:lstStyle/>
          <a:p>
            <a:fld id="{AA4DA77F-1774-429A-87F4-AE617232B10D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626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595" y="326976"/>
            <a:ext cx="13434475" cy="64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3120" b="1" dirty="0">
                <a:solidFill>
                  <a:schemeClr val="accent6"/>
                </a:solidFill>
                <a:latin typeface="Avenir LT Std 85 Heavy"/>
                <a:ea typeface="Avenir LT Std 85 Heavy"/>
                <a:cs typeface="+mj-cs"/>
              </a:defRPr>
            </a:lvl1pPr>
          </a:lstStyle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7595" y="1260765"/>
            <a:ext cx="13594190" cy="2101473"/>
          </a:xfrm>
          <a:prstGeom prst="rect">
            <a:avLst/>
          </a:prstGeom>
        </p:spPr>
        <p:txBody>
          <a:bodyPr wrap="square" numCol="2" spcCol="274320">
            <a:spAutoFit/>
          </a:bodyPr>
          <a:lstStyle>
            <a:lvl1pPr marL="323850" indent="-323850">
              <a:tabLst/>
              <a:defRPr/>
            </a:lvl1pPr>
            <a:lvl2pPr marL="649606" indent="-325756">
              <a:defRPr/>
            </a:lvl2pPr>
            <a:lvl3pPr marL="862966" indent="-325756">
              <a:defRPr/>
            </a:lvl3pPr>
          </a:lstStyle>
          <a:p>
            <a:pPr lvl="0"/>
            <a:r>
              <a:rPr lang="en-US" dirty="0" err="1"/>
              <a:t>Avenir</a:t>
            </a:r>
            <a:r>
              <a:rPr lang="en-US" dirty="0"/>
              <a:t> LT Std 55 Roman 16pt text with 1 paragraph spacing</a:t>
            </a:r>
          </a:p>
          <a:p>
            <a:pPr lvl="1"/>
            <a:r>
              <a:rPr lang="en-US" dirty="0" err="1"/>
              <a:t>Avenir</a:t>
            </a:r>
            <a:r>
              <a:rPr lang="en-US" dirty="0"/>
              <a:t> LT </a:t>
            </a:r>
            <a:r>
              <a:rPr lang="en-US" dirty="0" err="1"/>
              <a:t>Std</a:t>
            </a:r>
            <a:r>
              <a:rPr lang="en-US" dirty="0"/>
              <a:t> 45 Book 14pt text with 1 paragraph spacing</a:t>
            </a:r>
          </a:p>
          <a:p>
            <a:pPr lvl="2"/>
            <a:r>
              <a:rPr lang="en-US" dirty="0" err="1"/>
              <a:t>Avenir</a:t>
            </a:r>
            <a:r>
              <a:rPr lang="en-US" dirty="0"/>
              <a:t> LT </a:t>
            </a:r>
            <a:r>
              <a:rPr lang="en-US" dirty="0" err="1"/>
              <a:t>Std</a:t>
            </a:r>
            <a:r>
              <a:rPr lang="en-US" dirty="0"/>
              <a:t> 35 Light 12pt text with 1 paragraph spac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440" y="7635240"/>
            <a:ext cx="10460736" cy="33199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60" b="0" i="0">
                <a:solidFill>
                  <a:srgbClr val="BABBBE"/>
                </a:solidFill>
                <a:latin typeface="Avenir LT Std 55 Oblique"/>
                <a:cs typeface="Avenir LT Std 55 Oblique"/>
              </a:defRPr>
            </a:lvl1pPr>
            <a:lvl2pPr marL="54864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2pPr>
            <a:lvl3pPr marL="109728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3pPr>
            <a:lvl4pPr marL="164592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4pPr>
            <a:lvl5pPr marL="219456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5pPr>
          </a:lstStyle>
          <a:p>
            <a:pPr lvl="0"/>
            <a:r>
              <a:rPr lang="en-US" dirty="0"/>
              <a:t>Notes will go here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91054" y="263849"/>
            <a:ext cx="1168920" cy="65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06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96941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102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27711" y="1436369"/>
            <a:ext cx="13171170" cy="86296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8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7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27711" y="2299336"/>
            <a:ext cx="13171170" cy="52711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281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pic>
        <p:nvPicPr>
          <p:cNvPr id="8" name="Imagen 11" descr="ribbon_ok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85291"/>
            <a:ext cx="14630400" cy="2831957"/>
          </a:xfrm>
          <a:prstGeom prst="rect">
            <a:avLst/>
          </a:prstGeom>
        </p:spPr>
      </p:pic>
      <p:pic>
        <p:nvPicPr>
          <p:cNvPr id="10" name="Imagen 20" descr="logo_rojo_positivo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963" y="274306"/>
            <a:ext cx="2286795" cy="66906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31522" y="1436522"/>
            <a:ext cx="10500360" cy="862964"/>
          </a:xfrm>
        </p:spPr>
        <p:txBody>
          <a:bodyPr>
            <a:normAutofit/>
          </a:bodyPr>
          <a:lstStyle>
            <a:lvl1pPr marL="0" indent="0">
              <a:buNone/>
              <a:defRPr sz="1920" b="1">
                <a:solidFill>
                  <a:srgbClr val="F40009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30324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963" y="274306"/>
            <a:ext cx="2286795" cy="669065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31520" y="1436370"/>
            <a:ext cx="13167360" cy="61341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31522" y="139067"/>
            <a:ext cx="10500360" cy="95059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5"/>
          </p:nvPr>
        </p:nvSpPr>
        <p:spPr>
          <a:xfrm>
            <a:off x="731520" y="7570630"/>
            <a:ext cx="12507270" cy="476250"/>
          </a:xfrm>
        </p:spPr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0674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oot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963" y="274306"/>
            <a:ext cx="2286795" cy="66906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35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329DB5E-25B6-43F9-93F9-2824EA5E6F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0469881" y="438150"/>
            <a:ext cx="3154680" cy="697420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65C388A-C869-4376-A0E1-257CA6E567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05841" y="438150"/>
            <a:ext cx="9281160" cy="697420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8555AD-0991-4234-800D-0D19CBD518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F09C28-A0EF-4484-B72A-844A715B4D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08D2EF-5AFD-438A-959E-47DA7BCDA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3835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244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547783" fontAlgn="base">
              <a:spcBef>
                <a:spcPct val="0"/>
              </a:spcBef>
              <a:spcAft>
                <a:spcPct val="0"/>
              </a:spcAft>
            </a:pPr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  <a:ea typeface="ＭＳ Ｐゴシック" charset="0"/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1519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0" y="1436370"/>
            <a:ext cx="13167360" cy="862966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edit graph title (i.e. describe metrics shown) &amp;                                      Specify period for which data is shown</a:t>
            </a:r>
          </a:p>
        </p:txBody>
      </p:sp>
      <p:pic>
        <p:nvPicPr>
          <p:cNvPr id="8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 (i.e. key point evidenced by graph)</a:t>
            </a:r>
            <a:endParaRPr lang="en-GB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714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35" y="1436371"/>
            <a:ext cx="6469381" cy="862966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edit graph title (metrics) &amp; Specify period covered by data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429504" y="1436371"/>
            <a:ext cx="6469379" cy="862966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edit graph title (metrics) &amp;  Specify period covered by data</a:t>
            </a:r>
          </a:p>
        </p:txBody>
      </p:sp>
      <p:pic>
        <p:nvPicPr>
          <p:cNvPr id="15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 (i.e. key point evidenced by graphs)</a:t>
            </a:r>
            <a:endParaRPr lang="en-GB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982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27772" y="1436521"/>
            <a:ext cx="13171170" cy="86296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8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7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27772" y="2299376"/>
            <a:ext cx="13171170" cy="52711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0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35" y="1436522"/>
            <a:ext cx="6469381" cy="86296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429504" y="1436371"/>
            <a:ext cx="6469379" cy="86084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5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6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731535" y="2303155"/>
            <a:ext cx="6469381" cy="5267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7429504" y="2297467"/>
            <a:ext cx="6469379" cy="52730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25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519" y="2299337"/>
            <a:ext cx="4234182" cy="5273040"/>
          </a:xfrm>
        </p:spPr>
        <p:txBody>
          <a:bodyPr>
            <a:normAutofit/>
          </a:bodyPr>
          <a:lstStyle>
            <a:lvl1pPr marL="213029" indent="-213029">
              <a:defRPr sz="1440" baseline="0"/>
            </a:lvl1pPr>
            <a:lvl2pPr marL="427955" indent="-213029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19" y="1436518"/>
            <a:ext cx="4234182" cy="85803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5194303" y="2299336"/>
            <a:ext cx="4231638" cy="5273040"/>
          </a:xfrm>
        </p:spPr>
        <p:txBody>
          <a:bodyPr>
            <a:normAutofit/>
          </a:bodyPr>
          <a:lstStyle>
            <a:lvl1pPr marL="213029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427955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640984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855910" indent="-226340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068937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5194313" y="1436518"/>
            <a:ext cx="4239258" cy="85803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9667334" y="2299337"/>
            <a:ext cx="4231640" cy="5273040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3029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9667334" y="1436518"/>
            <a:ext cx="4231640" cy="85803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2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6" name="Footer Placeholder 5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0086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4078666" y="1436370"/>
            <a:ext cx="3126053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425769" y="1436370"/>
            <a:ext cx="3126053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10782301" y="1436370"/>
            <a:ext cx="3116579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638" y="2299375"/>
            <a:ext cx="3114040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638" y="1436370"/>
            <a:ext cx="3114040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4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17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4078666" y="2299375"/>
            <a:ext cx="3126053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40" hasCustomPrompt="1"/>
          </p:nvPr>
        </p:nvSpPr>
        <p:spPr>
          <a:xfrm>
            <a:off x="7425769" y="2299375"/>
            <a:ext cx="3126053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41" hasCustomPrompt="1"/>
          </p:nvPr>
        </p:nvSpPr>
        <p:spPr>
          <a:xfrm>
            <a:off x="10782301" y="2299375"/>
            <a:ext cx="3116579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225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/ 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4078618" y="1436370"/>
            <a:ext cx="3710253" cy="862966"/>
          </a:xfrm>
          <a:prstGeom prst="chevron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295" tIns="45647" rIns="91295" bIns="45647" rtlCol="0" anchor="ctr">
            <a:normAutofit/>
          </a:bodyPr>
          <a:lstStyle>
            <a:lvl1pPr marL="0" marR="0" indent="0" algn="ctr" defTabSz="54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lang="en-GB" sz="2160" b="1" noProof="0" dirty="0">
                <a:solidFill>
                  <a:schemeClr val="tx1"/>
                </a:solidFill>
              </a:defRPr>
            </a:lvl1pPr>
          </a:lstStyle>
          <a:p>
            <a:pPr marL="0" marR="0" lvl="0" indent="0" algn="ctr" defTabSz="54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 dirty="0"/>
              <a:t>Highlighted    Text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425720" y="1436370"/>
            <a:ext cx="3710253" cy="862966"/>
          </a:xfrm>
          <a:prstGeom prst="chevron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295" tIns="45647" rIns="91295" bIns="45647" rtlCol="0" anchor="ctr">
            <a:normAutofit/>
          </a:bodyPr>
          <a:lstStyle>
            <a:lvl1pPr marL="0" marR="0" indent="0" algn="ctr" defTabSz="54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lang="en-GB" sz="2160" b="1" noProof="0" dirty="0">
                <a:solidFill>
                  <a:schemeClr val="tx1"/>
                </a:solidFill>
              </a:defRPr>
            </a:lvl1pPr>
          </a:lstStyle>
          <a:p>
            <a:pPr marL="0" marR="0" lvl="0" indent="0" algn="ctr" defTabSz="54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 dirty="0"/>
              <a:t>Highlighted    Text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10782308" y="1436370"/>
            <a:ext cx="3700779" cy="862966"/>
          </a:xfrm>
          <a:prstGeom prst="chevron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295" tIns="45647" rIns="91295" bIns="45647" rtlCol="0" anchor="ctr">
            <a:normAutofit/>
          </a:bodyPr>
          <a:lstStyle>
            <a:lvl1pPr marL="0" marR="0" indent="0" algn="ctr" defTabSz="54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lang="en-GB" sz="2160" b="1" noProof="0" dirty="0">
                <a:solidFill>
                  <a:schemeClr val="tx1"/>
                </a:solidFill>
              </a:defRPr>
            </a:lvl1pPr>
          </a:lstStyle>
          <a:p>
            <a:pPr marL="0" marR="0" lvl="0" indent="0" algn="ctr" defTabSz="54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 dirty="0"/>
              <a:t>Highlighted    Tex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638" y="2299375"/>
            <a:ext cx="3114040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59" y="1436370"/>
            <a:ext cx="3698242" cy="862966"/>
          </a:xfrm>
          <a:prstGeom prst="homePlate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>
              <a:buNone/>
              <a:defRPr lang="en-GB" sz="2160" b="1" noProof="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GB" noProof="0" dirty="0"/>
              <a:t>Highlighted    Text</a:t>
            </a:r>
          </a:p>
        </p:txBody>
      </p:sp>
      <p:pic>
        <p:nvPicPr>
          <p:cNvPr id="14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17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4078666" y="2299375"/>
            <a:ext cx="3126053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40" hasCustomPrompt="1"/>
          </p:nvPr>
        </p:nvSpPr>
        <p:spPr>
          <a:xfrm>
            <a:off x="7425769" y="2299375"/>
            <a:ext cx="3126053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41" hasCustomPrompt="1"/>
          </p:nvPr>
        </p:nvSpPr>
        <p:spPr>
          <a:xfrm>
            <a:off x="10782301" y="2299375"/>
            <a:ext cx="3116579" cy="5257172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4928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722205" y="1245015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081513" y="1245015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45" hasCustomPrompt="1"/>
          </p:nvPr>
        </p:nvSpPr>
        <p:spPr>
          <a:xfrm>
            <a:off x="7440827" y="1245015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6" hasCustomPrompt="1"/>
          </p:nvPr>
        </p:nvSpPr>
        <p:spPr>
          <a:xfrm>
            <a:off x="10800150" y="1245015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50589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535" y="2299335"/>
            <a:ext cx="6469381" cy="20658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35" y="1436523"/>
            <a:ext cx="6469381" cy="86296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37" hasCustomPrompt="1"/>
          </p:nvPr>
        </p:nvSpPr>
        <p:spPr>
          <a:xfrm>
            <a:off x="731535" y="5454164"/>
            <a:ext cx="6469381" cy="2092283"/>
          </a:xfrm>
        </p:spPr>
        <p:txBody>
          <a:bodyPr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731535" y="4589195"/>
            <a:ext cx="6469381" cy="86487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7429504" y="5454020"/>
            <a:ext cx="6469379" cy="2092282"/>
          </a:xfrm>
        </p:spPr>
        <p:txBody>
          <a:bodyPr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7429504" y="4589195"/>
            <a:ext cx="6469379" cy="86487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41" hasCustomPrompt="1"/>
          </p:nvPr>
        </p:nvSpPr>
        <p:spPr>
          <a:xfrm>
            <a:off x="7429504" y="2299335"/>
            <a:ext cx="6469379" cy="2065862"/>
          </a:xfrm>
        </p:spPr>
        <p:txBody>
          <a:bodyPr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42" hasCustomPrompt="1"/>
          </p:nvPr>
        </p:nvSpPr>
        <p:spPr>
          <a:xfrm>
            <a:off x="7429504" y="1436523"/>
            <a:ext cx="6469379" cy="86296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4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118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6F4F38-BBDA-4542-8667-FF66596A1E0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137622" y="7566640"/>
            <a:ext cx="3291840" cy="439420"/>
          </a:xfrm>
          <a:prstGeom prst="rect">
            <a:avLst/>
          </a:prstGeom>
        </p:spPr>
        <p:txBody>
          <a:bodyPr/>
          <a:lstStyle/>
          <a:p>
            <a:pPr defTabSz="617190"/>
            <a:fld id="{62D2B4C2-8560-D74F-AEC2-C0D17C7CC3CC}" type="slidenum">
              <a:rPr lang="en-GB" sz="1216" smtClean="0">
                <a:solidFill>
                  <a:prstClr val="black"/>
                </a:solidFill>
              </a:rPr>
              <a:pPr defTabSz="617190"/>
              <a:t>‹#›</a:t>
            </a:fld>
            <a:endParaRPr lang="en-GB" sz="1216" dirty="0">
              <a:solidFill>
                <a:prstClr val="black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E2AE51-4E3C-4D4E-B677-CAA112958A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1" y="2754"/>
            <a:ext cx="14620622" cy="822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63534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5194313" y="1441076"/>
            <a:ext cx="4239258" cy="85841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5194345" y="2299336"/>
            <a:ext cx="4239259" cy="2118360"/>
          </a:xfrm>
        </p:spPr>
        <p:txBody>
          <a:bodyPr>
            <a:noAutofit/>
          </a:bodyPr>
          <a:lstStyle>
            <a:lvl1pPr marL="213029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427955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640984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855910" indent="-226340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068937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9667334" y="2299336"/>
            <a:ext cx="4231640" cy="2118360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3029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731631" y="4589146"/>
            <a:ext cx="4234181" cy="88392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3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5194313" y="4589163"/>
            <a:ext cx="4239258" cy="88391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42" hasCustomPrompt="1"/>
          </p:nvPr>
        </p:nvSpPr>
        <p:spPr>
          <a:xfrm>
            <a:off x="9667334" y="4589146"/>
            <a:ext cx="4231640" cy="88392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631" y="2299336"/>
            <a:ext cx="4234181" cy="2118360"/>
          </a:xfrm>
        </p:spPr>
        <p:txBody>
          <a:bodyPr>
            <a:noAutofit/>
          </a:bodyPr>
          <a:lstStyle>
            <a:lvl1pPr marL="213029" indent="-213029">
              <a:defRPr sz="1440"/>
            </a:lvl1pPr>
            <a:lvl2pPr marL="427955" indent="-213029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631" y="1441076"/>
            <a:ext cx="4234181" cy="85841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9667240" y="1441076"/>
            <a:ext cx="4231642" cy="85841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8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20" name="Text Placeholder 23"/>
          <p:cNvSpPr>
            <a:spLocks noGrp="1"/>
          </p:cNvSpPr>
          <p:nvPr>
            <p:ph type="body" sz="quarter" idx="43" hasCustomPrompt="1"/>
          </p:nvPr>
        </p:nvSpPr>
        <p:spPr>
          <a:xfrm>
            <a:off x="5194345" y="5473065"/>
            <a:ext cx="4239259" cy="2093594"/>
          </a:xfrm>
        </p:spPr>
        <p:txBody>
          <a:bodyPr>
            <a:noAutofit/>
          </a:bodyPr>
          <a:lstStyle>
            <a:lvl1pPr marL="213029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427955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640984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855910" indent="-226340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068937" indent="-213029" algn="l" defTabSz="547783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44" hasCustomPrompt="1"/>
          </p:nvPr>
        </p:nvSpPr>
        <p:spPr>
          <a:xfrm>
            <a:off x="9667334" y="5473216"/>
            <a:ext cx="4231640" cy="2093593"/>
          </a:xfrm>
        </p:spPr>
        <p:txBody>
          <a:bodyPr>
            <a:normAutofit/>
          </a:bodyPr>
          <a:lstStyle>
            <a:lvl1pPr marL="213029" indent="-213029">
              <a:defRPr sz="1440"/>
            </a:lvl1pPr>
            <a:lvl2pPr marL="427955" indent="-213029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45" hasCustomPrompt="1"/>
          </p:nvPr>
        </p:nvSpPr>
        <p:spPr>
          <a:xfrm>
            <a:off x="731631" y="5473066"/>
            <a:ext cx="4234181" cy="2093592"/>
          </a:xfrm>
        </p:spPr>
        <p:txBody>
          <a:bodyPr>
            <a:noAutofit/>
          </a:bodyPr>
          <a:lstStyle>
            <a:lvl1pPr marL="213029" indent="-213029">
              <a:defRPr sz="1440"/>
            </a:lvl1pPr>
            <a:lvl2pPr marL="427955" indent="-213029">
              <a:defRPr sz="1440"/>
            </a:lvl2pPr>
            <a:lvl3pPr marL="640984" indent="-213029">
              <a:defRPr sz="1440"/>
            </a:lvl3pPr>
            <a:lvl4pPr marL="855910" indent="-226340">
              <a:defRPr sz="1440"/>
            </a:lvl4pPr>
            <a:lvl5pPr marL="1068937" indent="-213029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544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4076706" y="1436384"/>
            <a:ext cx="9822179" cy="2981324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7" hasCustomPrompt="1"/>
          </p:nvPr>
        </p:nvSpPr>
        <p:spPr>
          <a:xfrm>
            <a:off x="4076706" y="4589146"/>
            <a:ext cx="9822179" cy="2977514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4" hasCustomPrompt="1"/>
          </p:nvPr>
        </p:nvSpPr>
        <p:spPr>
          <a:xfrm>
            <a:off x="731638" y="1436384"/>
            <a:ext cx="3114040" cy="2981324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25" hasCustomPrompt="1"/>
          </p:nvPr>
        </p:nvSpPr>
        <p:spPr>
          <a:xfrm>
            <a:off x="731638" y="4589146"/>
            <a:ext cx="3114040" cy="2977514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3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694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4076822" y="1436370"/>
            <a:ext cx="9822181" cy="1929766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27" hasCustomPrompt="1"/>
          </p:nvPr>
        </p:nvSpPr>
        <p:spPr>
          <a:xfrm>
            <a:off x="4076822" y="3541409"/>
            <a:ext cx="9822181" cy="1931668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4" hasCustomPrompt="1"/>
          </p:nvPr>
        </p:nvSpPr>
        <p:spPr>
          <a:xfrm>
            <a:off x="731638" y="1436370"/>
            <a:ext cx="3114040" cy="1929766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731638" y="3541397"/>
            <a:ext cx="3114040" cy="1931669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076805" y="5646420"/>
            <a:ext cx="9822178" cy="1920240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30" hasCustomPrompt="1"/>
          </p:nvPr>
        </p:nvSpPr>
        <p:spPr>
          <a:xfrm>
            <a:off x="731638" y="5646420"/>
            <a:ext cx="3114040" cy="192024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2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87279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28" hasCustomPrompt="1"/>
          </p:nvPr>
        </p:nvSpPr>
        <p:spPr>
          <a:xfrm>
            <a:off x="4076706" y="1436405"/>
            <a:ext cx="9822179" cy="1402079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30" hasCustomPrompt="1"/>
          </p:nvPr>
        </p:nvSpPr>
        <p:spPr>
          <a:xfrm>
            <a:off x="731638" y="1436405"/>
            <a:ext cx="3114040" cy="1402079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31" hasCustomPrompt="1"/>
          </p:nvPr>
        </p:nvSpPr>
        <p:spPr>
          <a:xfrm>
            <a:off x="4076706" y="3011808"/>
            <a:ext cx="9822179" cy="1405889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638" y="3011808"/>
            <a:ext cx="3114040" cy="1405889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4076706" y="4589145"/>
            <a:ext cx="9822179" cy="1402078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31638" y="4589145"/>
            <a:ext cx="3114040" cy="1402078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076706" y="6162673"/>
            <a:ext cx="9822179" cy="140113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31638" y="6162673"/>
            <a:ext cx="3114040" cy="140113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5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1231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4076706" y="1441066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638" y="1441066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4076706" y="2702652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31638" y="2702652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076706" y="3964238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31638" y="3964238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2" name="Text Placeholder 23"/>
          <p:cNvSpPr>
            <a:spLocks noGrp="1"/>
          </p:cNvSpPr>
          <p:nvPr>
            <p:ph type="body" sz="quarter" idx="37" hasCustomPrompt="1"/>
          </p:nvPr>
        </p:nvSpPr>
        <p:spPr>
          <a:xfrm>
            <a:off x="4076706" y="5225825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731638" y="5225825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4076706" y="6487420"/>
            <a:ext cx="9822179" cy="1076393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731638" y="6487420"/>
            <a:ext cx="3114040" cy="1076393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843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2533615" y="1441066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2533615" y="2702652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2533615" y="3964238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2" name="Text Placeholder 23"/>
          <p:cNvSpPr>
            <a:spLocks noGrp="1"/>
          </p:cNvSpPr>
          <p:nvPr>
            <p:ph type="body" sz="quarter" idx="37" hasCustomPrompt="1"/>
          </p:nvPr>
        </p:nvSpPr>
        <p:spPr>
          <a:xfrm>
            <a:off x="2533615" y="5225825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2533615" y="6487420"/>
            <a:ext cx="11365323" cy="1076393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 (across BUs)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42" hasCustomPrompt="1"/>
          </p:nvPr>
        </p:nvSpPr>
        <p:spPr>
          <a:xfrm>
            <a:off x="731520" y="1441066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43" hasCustomPrompt="1"/>
          </p:nvPr>
        </p:nvSpPr>
        <p:spPr>
          <a:xfrm>
            <a:off x="731520" y="2706120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44" hasCustomPrompt="1"/>
          </p:nvPr>
        </p:nvSpPr>
        <p:spPr>
          <a:xfrm>
            <a:off x="731520" y="3962948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45" hasCustomPrompt="1"/>
          </p:nvPr>
        </p:nvSpPr>
        <p:spPr>
          <a:xfrm>
            <a:off x="731520" y="6487420"/>
            <a:ext cx="1445760" cy="1076393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46" hasCustomPrompt="1"/>
          </p:nvPr>
        </p:nvSpPr>
        <p:spPr>
          <a:xfrm>
            <a:off x="731520" y="5219777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</p:spTree>
    <p:extLst>
      <p:ext uri="{BB962C8B-B14F-4D97-AF65-F5344CB8AC3E}">
        <p14:creationId xmlns:p14="http://schemas.microsoft.com/office/powerpoint/2010/main" val="2461351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8" name="TextBox 7"/>
          <p:cNvSpPr txBox="1">
            <a:spLocks noChangeAspect="1"/>
          </p:cNvSpPr>
          <p:nvPr userDrawn="1"/>
        </p:nvSpPr>
        <p:spPr>
          <a:xfrm>
            <a:off x="13251442" y="7770515"/>
            <a:ext cx="641744" cy="295288"/>
          </a:xfrm>
          <a:prstGeom prst="rect">
            <a:avLst/>
          </a:prstGeom>
          <a:noFill/>
        </p:spPr>
        <p:txBody>
          <a:bodyPr wrap="square" lIns="109554" tIns="54776" rIns="109554" bIns="54776" rtlCol="0" anchor="b">
            <a:spAutoFit/>
          </a:bodyPr>
          <a:lstStyle/>
          <a:p>
            <a:pPr algn="r" defTabSz="547783" fontAlgn="base">
              <a:spcBef>
                <a:spcPct val="0"/>
              </a:spcBef>
              <a:spcAft>
                <a:spcPct val="0"/>
              </a:spcAft>
              <a:defRPr/>
            </a:pPr>
            <a:fld id="{EB02245E-B63F-4601-BFC3-7DBCCE4DD44C}" type="slidenum">
              <a:rPr lang="en-GB" sz="1200">
                <a:solidFill>
                  <a:srgbClr val="FEFFFF"/>
                </a:solidFill>
                <a:ea typeface="ＭＳ Ｐゴシック" charset="0"/>
              </a:rPr>
              <a:pPr algn="r" defTabSz="547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  <a:ea typeface="ＭＳ Ｐゴシック" charset="0"/>
            </a:endParaRPr>
          </a:p>
        </p:txBody>
      </p:sp>
      <p:pic>
        <p:nvPicPr>
          <p:cNvPr id="9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agenda 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>
                <a:solidFill>
                  <a:srgbClr val="FEFFFF"/>
                </a:solidFill>
              </a:rPr>
              <a:t>1. XXX  2. XXX  3. XXX  Source: XXX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577" y="1436371"/>
            <a:ext cx="13169899" cy="6130289"/>
          </a:xfrm>
        </p:spPr>
        <p:txBody>
          <a:bodyPr>
            <a:normAutofit/>
          </a:bodyPr>
          <a:lstStyle>
            <a:lvl1pPr marL="427955" indent="-427955">
              <a:spcBef>
                <a:spcPts val="720"/>
              </a:spcBef>
              <a:spcAft>
                <a:spcPts val="720"/>
              </a:spcAft>
              <a:buFont typeface="Arial" panose="020B0604020202020204" pitchFamily="34" charset="0"/>
              <a:buChar char="•"/>
              <a:defRPr sz="2640">
                <a:solidFill>
                  <a:schemeClr val="bg1"/>
                </a:solidFill>
              </a:defRPr>
            </a:lvl1pPr>
            <a:lvl2pPr marL="855910" indent="-427955">
              <a:spcBef>
                <a:spcPts val="720"/>
              </a:spcBef>
              <a:spcAft>
                <a:spcPts val="720"/>
              </a:spcAft>
              <a:buFont typeface="Arial" panose="020B0604020202020204" pitchFamily="34" charset="0"/>
              <a:buChar char="−"/>
              <a:defRPr sz="2400">
                <a:solidFill>
                  <a:schemeClr val="bg1"/>
                </a:solidFill>
              </a:defRPr>
            </a:lvl2pPr>
            <a:lvl3pP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427649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8" name="TextBox 7"/>
          <p:cNvSpPr txBox="1">
            <a:spLocks noChangeAspect="1"/>
          </p:cNvSpPr>
          <p:nvPr userDrawn="1"/>
        </p:nvSpPr>
        <p:spPr>
          <a:xfrm>
            <a:off x="13251442" y="7770515"/>
            <a:ext cx="641744" cy="295288"/>
          </a:xfrm>
          <a:prstGeom prst="rect">
            <a:avLst/>
          </a:prstGeom>
          <a:noFill/>
        </p:spPr>
        <p:txBody>
          <a:bodyPr wrap="square" lIns="109554" tIns="54776" rIns="109554" bIns="54776" rtlCol="0" anchor="b">
            <a:spAutoFit/>
          </a:bodyPr>
          <a:lstStyle/>
          <a:p>
            <a:pPr algn="r" defTabSz="547783" fontAlgn="base">
              <a:spcBef>
                <a:spcPct val="0"/>
              </a:spcBef>
              <a:spcAft>
                <a:spcPct val="0"/>
              </a:spcAft>
              <a:defRPr/>
            </a:pPr>
            <a:fld id="{EB02245E-B63F-4601-BFC3-7DBCCE4DD44C}" type="slidenum">
              <a:rPr lang="en-GB" sz="1200">
                <a:solidFill>
                  <a:srgbClr val="FEFFFF"/>
                </a:solidFill>
                <a:ea typeface="ＭＳ Ｐゴシック" charset="0"/>
              </a:rPr>
              <a:pPr algn="r" defTabSz="547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  <a:ea typeface="ＭＳ Ｐゴシック" charset="0"/>
            </a:endParaRPr>
          </a:p>
        </p:txBody>
      </p:sp>
      <p:pic>
        <p:nvPicPr>
          <p:cNvPr id="9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index 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>
                <a:solidFill>
                  <a:srgbClr val="FEFFFF"/>
                </a:solidFill>
              </a:rPr>
              <a:t>1. XXX  2. XXX  3. XXX  Source: XXX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577" y="1436371"/>
            <a:ext cx="13169899" cy="6130289"/>
          </a:xfrm>
        </p:spPr>
        <p:txBody>
          <a:bodyPr>
            <a:noAutofit/>
          </a:bodyPr>
          <a:lstStyle>
            <a:lvl1pPr marL="427955" indent="-427955">
              <a:spcBef>
                <a:spcPts val="720"/>
              </a:spcBef>
              <a:spcAft>
                <a:spcPts val="720"/>
              </a:spcAft>
              <a:buFont typeface="+mj-lt"/>
              <a:buAutoNum type="arabicPeriod"/>
              <a:defRPr sz="2640">
                <a:solidFill>
                  <a:schemeClr val="bg1"/>
                </a:solidFill>
              </a:defRPr>
            </a:lvl1pPr>
            <a:lvl2pPr marL="855910" indent="-427955">
              <a:spcBef>
                <a:spcPts val="720"/>
              </a:spcBef>
              <a:spcAft>
                <a:spcPts val="720"/>
              </a:spcAft>
              <a:buFont typeface="+mj-lt"/>
              <a:buAutoNum type="alphaLcPeriod"/>
              <a:defRPr sz="2400">
                <a:solidFill>
                  <a:schemeClr val="bg1"/>
                </a:solidFill>
              </a:defRPr>
            </a:lvl2pPr>
            <a:lvl3pP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0989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contents pag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31626" y="1440608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31626" y="2647839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31626" y="3854926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31626" y="5062310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2269421" y="1440608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6" hasCustomPrompt="1"/>
          </p:nvPr>
        </p:nvSpPr>
        <p:spPr>
          <a:xfrm>
            <a:off x="2269421" y="2647839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2269421" y="3854926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8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2269421" y="5062310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31626" y="6269542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2269421" y="6269542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131746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978" y="850217"/>
            <a:ext cx="14656378" cy="7379388"/>
          </a:xfrm>
          <a:prstGeom prst="rect">
            <a:avLst/>
          </a:prstGeom>
          <a:effectLst/>
        </p:spPr>
      </p:pic>
      <p:pic>
        <p:nvPicPr>
          <p:cNvPr id="14" name="Imagen 9" descr="ribbon_white_ok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27" y="994709"/>
            <a:ext cx="14651430" cy="2831957"/>
          </a:xfrm>
          <a:prstGeom prst="rect">
            <a:avLst/>
          </a:prstGeom>
          <a:effectLst/>
        </p:spPr>
      </p:pic>
      <p:pic>
        <p:nvPicPr>
          <p:cNvPr id="10" name="Imagen 10" descr="logo_blanco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31522" y="1435674"/>
            <a:ext cx="10500360" cy="86366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1128215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27711" y="1436369"/>
            <a:ext cx="13171170" cy="86296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8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7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27711" y="2299336"/>
            <a:ext cx="13171170" cy="52711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9462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" y="850230"/>
            <a:ext cx="14609370" cy="7379389"/>
          </a:xfrm>
          <a:prstGeom prst="rect">
            <a:avLst/>
          </a:prstGeom>
          <a:effectLst/>
        </p:spPr>
      </p:pic>
      <p:pic>
        <p:nvPicPr>
          <p:cNvPr id="11" name="Imagen 9" descr="ribbon_white_ok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30" y="994709"/>
            <a:ext cx="14630400" cy="2831957"/>
          </a:xfrm>
          <a:prstGeom prst="rect">
            <a:avLst/>
          </a:prstGeom>
          <a:effectLst/>
        </p:spPr>
      </p:pic>
      <p:pic>
        <p:nvPicPr>
          <p:cNvPr id="10" name="Imagen 10" descr="logo_blanco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3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31520" y="1436521"/>
            <a:ext cx="10502899" cy="86296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803764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978" y="850217"/>
            <a:ext cx="14656378" cy="7379388"/>
          </a:xfrm>
          <a:prstGeom prst="rect">
            <a:avLst/>
          </a:prstGeom>
          <a:effectLst/>
        </p:spPr>
      </p:pic>
      <p:pic>
        <p:nvPicPr>
          <p:cNvPr id="10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pic>
        <p:nvPicPr>
          <p:cNvPr id="15" name="Imagen 9" descr="ribbon_white_ok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30" y="994709"/>
            <a:ext cx="14630400" cy="2831957"/>
          </a:xfrm>
          <a:prstGeom prst="rect">
            <a:avLst/>
          </a:prstGeom>
          <a:effectLst/>
        </p:spPr>
      </p:pic>
      <p:sp>
        <p:nvSpPr>
          <p:cNvPr id="16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731556" y="1436521"/>
            <a:ext cx="10485832" cy="86296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1568260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96272"/>
            <a:ext cx="14630400" cy="7433344"/>
          </a:xfrm>
          <a:prstGeom prst="rect">
            <a:avLst/>
          </a:prstGeom>
        </p:spPr>
      </p:pic>
      <p:sp>
        <p:nvSpPr>
          <p:cNvPr id="13" name="Rectángulo 11"/>
          <p:cNvSpPr/>
          <p:nvPr userDrawn="1"/>
        </p:nvSpPr>
        <p:spPr>
          <a:xfrm>
            <a:off x="0" y="1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12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31522" y="1436370"/>
            <a:ext cx="10500360" cy="86296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630325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000000"/>
              </a:solidFill>
            </a:endParaRPr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731537" y="139067"/>
            <a:ext cx="3472181" cy="9505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864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1</a:t>
            </a:r>
          </a:p>
        </p:txBody>
      </p:sp>
      <p:pic>
        <p:nvPicPr>
          <p:cNvPr id="12" name="Imagen 3" descr="ribbon_white_ok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78050"/>
            <a:ext cx="14630400" cy="2831957"/>
          </a:xfrm>
          <a:prstGeom prst="rect">
            <a:avLst/>
          </a:prstGeom>
        </p:spPr>
      </p:pic>
      <p:pic>
        <p:nvPicPr>
          <p:cNvPr id="11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13113835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b"/>
          <a:lstStyle/>
          <a:p>
            <a:pPr algn="r" defTabSz="547783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>
                <a:solidFill>
                  <a:srgbClr val="FEFFFF"/>
                </a:solidFill>
              </a:rPr>
              <a:pPr algn="r" defTabSz="547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28981" y="1436370"/>
            <a:ext cx="10502899" cy="86296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6152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 userDrawn="1"/>
        </p:nvSpPr>
        <p:spPr>
          <a:xfrm>
            <a:off x="0" y="1"/>
            <a:ext cx="14630400" cy="8229600"/>
          </a:xfrm>
          <a:prstGeom prst="rect">
            <a:avLst/>
          </a:prstGeom>
          <a:solidFill>
            <a:srgbClr val="A4A4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000000"/>
              </a:solidFill>
            </a:endParaRPr>
          </a:p>
        </p:txBody>
      </p:sp>
      <p:pic>
        <p:nvPicPr>
          <p:cNvPr id="14" name="Imagen 3" descr="ribbon_white_ok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80269"/>
            <a:ext cx="14630400" cy="2831957"/>
          </a:xfrm>
          <a:prstGeom prst="rect">
            <a:avLst/>
          </a:prstGeom>
        </p:spPr>
      </p:pic>
      <p:sp>
        <p:nvSpPr>
          <p:cNvPr id="9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731537" y="139067"/>
            <a:ext cx="3472181" cy="9505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>
              <a:buNone/>
              <a:defRPr sz="864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1a</a:t>
            </a:r>
          </a:p>
        </p:txBody>
      </p:sp>
      <p:pic>
        <p:nvPicPr>
          <p:cNvPr id="13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15" name="Rectangle 14"/>
          <p:cNvSpPr/>
          <p:nvPr userDrawn="1"/>
        </p:nvSpPr>
        <p:spPr>
          <a:xfrm>
            <a:off x="13113835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b"/>
          <a:lstStyle/>
          <a:p>
            <a:pPr algn="r" defTabSz="547783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>
                <a:solidFill>
                  <a:srgbClr val="FEFFFF"/>
                </a:solidFill>
              </a:rPr>
              <a:pPr algn="r" defTabSz="547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28981" y="1436370"/>
            <a:ext cx="10502899" cy="86296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  <a:lvl2pPr marL="427955" indent="0">
              <a:buNone/>
              <a:defRPr sz="3000" b="1">
                <a:solidFill>
                  <a:schemeClr val="bg1"/>
                </a:solidFill>
              </a:defRPr>
            </a:lvl2pPr>
            <a:lvl3pPr marL="855910" indent="0">
              <a:buNone/>
              <a:defRPr sz="3000" b="1">
                <a:solidFill>
                  <a:schemeClr val="bg1"/>
                </a:solidFill>
              </a:defRPr>
            </a:lvl3pPr>
            <a:lvl4pPr marL="1283866" indent="0">
              <a:buNone/>
              <a:defRPr sz="3000" b="1">
                <a:solidFill>
                  <a:schemeClr val="bg1"/>
                </a:solidFill>
              </a:defRPr>
            </a:lvl4pPr>
            <a:lvl5pPr marL="1725136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ubsec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41242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ure (option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/>
          <p:cNvSpPr/>
          <p:nvPr userDrawn="1"/>
        </p:nvSpPr>
        <p:spPr>
          <a:xfrm>
            <a:off x="-20320" y="-33306"/>
            <a:ext cx="14650720" cy="82629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000000"/>
              </a:solidFill>
            </a:endParaRPr>
          </a:p>
        </p:txBody>
      </p:sp>
      <p:sp>
        <p:nvSpPr>
          <p:cNvPr id="6" name="CuadroTexto 5"/>
          <p:cNvSpPr txBox="1"/>
          <p:nvPr userDrawn="1"/>
        </p:nvSpPr>
        <p:spPr>
          <a:xfrm>
            <a:off x="5202951" y="3810132"/>
            <a:ext cx="4224518" cy="609220"/>
          </a:xfrm>
          <a:prstGeom prst="rect">
            <a:avLst/>
          </a:prstGeom>
          <a:noFill/>
        </p:spPr>
        <p:txBody>
          <a:bodyPr wrap="square" lIns="109554" tIns="54776" rIns="109554" bIns="54776" rtlCol="0">
            <a:spAutoFit/>
          </a:bodyPr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r>
              <a:rPr lang="en-GB" sz="3240" b="1" dirty="0">
                <a:solidFill>
                  <a:srgbClr val="F40009"/>
                </a:solidFill>
                <a:ea typeface="ＭＳ Ｐゴシック" charset="0"/>
              </a:rPr>
              <a:t>Thank you!</a:t>
            </a:r>
          </a:p>
        </p:txBody>
      </p:sp>
      <p:pic>
        <p:nvPicPr>
          <p:cNvPr id="9" name="Imagen 8" descr="logo_rojo_positiv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5410" y="6975076"/>
            <a:ext cx="3219592" cy="9419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3113835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b"/>
          <a:lstStyle/>
          <a:p>
            <a:pPr algn="r" defTabSz="547783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>
                <a:solidFill>
                  <a:srgbClr val="C00000"/>
                </a:solidFill>
              </a:rPr>
              <a:pPr algn="r" defTabSz="547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42211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body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749301" y="1716458"/>
            <a:ext cx="13131802" cy="5594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295" tIns="45647" rIns="91295" bIns="45647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accent3"/>
                </a:solidFill>
              </a:defRPr>
            </a:lvl2pPr>
            <a:lvl3pPr>
              <a:defRPr>
                <a:solidFill>
                  <a:schemeClr val="accent3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  <a:lvl5pPr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prstClr val="white">
                    <a:lumMod val="50000"/>
                  </a:prstClr>
                </a:solidFill>
              </a:rPr>
              <a:t>1. XXX  2. XXX  3. XXX  Source: XXX</a:t>
            </a:r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74729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990" y="326980"/>
            <a:ext cx="13427160" cy="64008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445" y="7657594"/>
            <a:ext cx="13426656" cy="309636"/>
          </a:xfrm>
        </p:spPr>
        <p:txBody>
          <a:bodyPr anchor="b"/>
          <a:lstStyle>
            <a:lvl1pPr marL="0" indent="0">
              <a:buFontTx/>
              <a:buNone/>
              <a:defRPr sz="1320" b="0" i="0">
                <a:solidFill>
                  <a:srgbClr val="BABBBE"/>
                </a:solidFill>
                <a:latin typeface="Avenir LT Std 55 Oblique"/>
                <a:cs typeface="Avenir LT Std 55 Oblique"/>
              </a:defRPr>
            </a:lvl1pPr>
            <a:lvl2pPr marL="547783" indent="0">
              <a:buFontTx/>
              <a:buNone/>
              <a:defRPr sz="1320" b="0" i="0">
                <a:latin typeface="Avenir LT Std 55 Oblique"/>
                <a:cs typeface="Avenir LT Std 55 Oblique"/>
              </a:defRPr>
            </a:lvl2pPr>
            <a:lvl3pPr marL="1095566" indent="0">
              <a:buFontTx/>
              <a:buNone/>
              <a:defRPr sz="1320" b="0" i="0">
                <a:latin typeface="Avenir LT Std 55 Oblique"/>
                <a:cs typeface="Avenir LT Std 55 Oblique"/>
              </a:defRPr>
            </a:lvl3pPr>
            <a:lvl4pPr marL="1643347" indent="0">
              <a:buFontTx/>
              <a:buNone/>
              <a:defRPr sz="1320" b="0" i="0">
                <a:latin typeface="Avenir LT Std 55 Oblique"/>
                <a:cs typeface="Avenir LT Std 55 Oblique"/>
              </a:defRPr>
            </a:lvl4pPr>
            <a:lvl5pPr marL="2191132" indent="0">
              <a:buFontTx/>
              <a:buNone/>
              <a:defRPr sz="1320" b="0" i="0">
                <a:latin typeface="Avenir LT Std 55 Oblique"/>
                <a:cs typeface="Avenir LT Std 55 Oblique"/>
              </a:defRPr>
            </a:lvl5pPr>
          </a:lstStyle>
          <a:p>
            <a:pPr lvl="0"/>
            <a:r>
              <a:rPr lang="en-US" dirty="0"/>
              <a:t>Notes will go here.</a:t>
            </a:r>
          </a:p>
        </p:txBody>
      </p:sp>
    </p:spTree>
    <p:extLst>
      <p:ext uri="{BB962C8B-B14F-4D97-AF65-F5344CB8AC3E}">
        <p14:creationId xmlns:p14="http://schemas.microsoft.com/office/powerpoint/2010/main" val="197419639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594818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columns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749302" y="2506489"/>
            <a:ext cx="2995533" cy="4794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80"/>
            </a:lvl1pPr>
            <a:lvl2pPr>
              <a:spcBef>
                <a:spcPts val="0"/>
              </a:spcBef>
              <a:spcAft>
                <a:spcPts val="0"/>
              </a:spcAft>
              <a:defRPr sz="1440"/>
            </a:lvl2pPr>
            <a:lvl3pPr>
              <a:spcBef>
                <a:spcPts val="0"/>
              </a:spcBef>
              <a:spcAft>
                <a:spcPts val="0"/>
              </a:spcAft>
              <a:defRPr sz="1320"/>
            </a:lvl3pPr>
            <a:lvl4pPr>
              <a:spcBef>
                <a:spcPts val="0"/>
              </a:spcBef>
              <a:spcAft>
                <a:spcPts val="0"/>
              </a:spcAft>
              <a:defRPr sz="1320"/>
            </a:lvl4pPr>
            <a:lvl5pPr>
              <a:spcBef>
                <a:spcPts val="0"/>
              </a:spcBef>
              <a:spcAft>
                <a:spcPts val="0"/>
              </a:spcAft>
              <a:defRPr sz="13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7504934" y="2506489"/>
            <a:ext cx="2995533" cy="4794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80"/>
            </a:lvl1pPr>
            <a:lvl2pPr>
              <a:spcBef>
                <a:spcPts val="0"/>
              </a:spcBef>
              <a:spcAft>
                <a:spcPts val="0"/>
              </a:spcAft>
              <a:defRPr sz="1440"/>
            </a:lvl2pPr>
            <a:lvl3pPr>
              <a:spcBef>
                <a:spcPts val="0"/>
              </a:spcBef>
              <a:spcAft>
                <a:spcPts val="0"/>
              </a:spcAft>
              <a:defRPr sz="1320"/>
            </a:lvl3pPr>
            <a:lvl4pPr>
              <a:spcBef>
                <a:spcPts val="0"/>
              </a:spcBef>
              <a:spcAft>
                <a:spcPts val="0"/>
              </a:spcAft>
              <a:defRPr sz="1320"/>
            </a:lvl4pPr>
            <a:lvl5pPr>
              <a:spcBef>
                <a:spcPts val="0"/>
              </a:spcBef>
              <a:spcAft>
                <a:spcPts val="0"/>
              </a:spcAft>
              <a:defRPr sz="13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0" hasCustomPrompt="1"/>
          </p:nvPr>
        </p:nvSpPr>
        <p:spPr>
          <a:xfrm>
            <a:off x="4127118" y="2506489"/>
            <a:ext cx="2995533" cy="4794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80"/>
            </a:lvl1pPr>
            <a:lvl2pPr>
              <a:spcBef>
                <a:spcPts val="0"/>
              </a:spcBef>
              <a:spcAft>
                <a:spcPts val="0"/>
              </a:spcAft>
              <a:defRPr sz="1440"/>
            </a:lvl2pPr>
            <a:lvl3pPr>
              <a:spcBef>
                <a:spcPts val="0"/>
              </a:spcBef>
              <a:spcAft>
                <a:spcPts val="0"/>
              </a:spcAft>
              <a:defRPr sz="1320"/>
            </a:lvl3pPr>
            <a:lvl4pPr>
              <a:spcBef>
                <a:spcPts val="0"/>
              </a:spcBef>
              <a:spcAft>
                <a:spcPts val="0"/>
              </a:spcAft>
              <a:defRPr sz="1320"/>
            </a:lvl4pPr>
            <a:lvl5pPr>
              <a:spcBef>
                <a:spcPts val="0"/>
              </a:spcBef>
              <a:spcAft>
                <a:spcPts val="0"/>
              </a:spcAft>
              <a:defRPr sz="13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749302" y="1716406"/>
            <a:ext cx="2995533" cy="799817"/>
          </a:xfrm>
          <a:gradFill flip="none" rotWithShape="1">
            <a:gsLst>
              <a:gs pos="0">
                <a:srgbClr val="C91D25"/>
              </a:gs>
              <a:gs pos="100000">
                <a:srgbClr val="9D1624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89860" tIns="35945" rIns="91295" bIns="35945" numCol="1" rtlCol="0" anchor="ctr" anchorCtr="0" compatLnSpc="1">
            <a:prstTxWarp prst="textNoShape">
              <a:avLst/>
            </a:prstTxWarp>
          </a:bodyPr>
          <a:lstStyle>
            <a:lvl1pPr marL="0" indent="0" algn="ctr" defTabSz="0">
              <a:spcBef>
                <a:spcPts val="0"/>
              </a:spcBef>
              <a:spcAft>
                <a:spcPts val="0"/>
              </a:spcAft>
              <a:buNone/>
              <a:defRPr lang="en-US" sz="1920" b="1" kern="0" smtClean="0">
                <a:solidFill>
                  <a:srgbClr val="FFFFFF"/>
                </a:solidFill>
                <a:latin typeface="Tahoma"/>
                <a:cs typeface="Tahoma"/>
                <a:sym typeface="Tahoma"/>
              </a:defRPr>
            </a:lvl1pPr>
            <a:lvl2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 marL="0" indent="0">
              <a:buNone/>
              <a:defRPr lang="en-GB" sz="192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 fontAlgn="base">
              <a:spcBef>
                <a:spcPts val="240"/>
              </a:spcBef>
              <a:spcAft>
                <a:spcPts val="240"/>
              </a:spcAft>
            </a:pPr>
            <a:r>
              <a:rPr lang="en-US" dirty="0"/>
              <a:t>Heading</a:t>
            </a:r>
            <a:endParaRPr lang="en-GB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4127118" y="1716406"/>
            <a:ext cx="2995533" cy="799817"/>
          </a:xfrm>
          <a:gradFill flip="none" rotWithShape="1">
            <a:gsLst>
              <a:gs pos="0">
                <a:srgbClr val="C91D25"/>
              </a:gs>
              <a:gs pos="100000">
                <a:srgbClr val="9D1624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89860" tIns="35945" rIns="91295" bIns="35945" numCol="1" rtlCol="0" anchor="ctr" anchorCtr="0" compatLnSpc="1">
            <a:prstTxWarp prst="textNoShape">
              <a:avLst/>
            </a:prstTxWarp>
          </a:bodyPr>
          <a:lstStyle>
            <a:lvl1pPr marL="0" indent="0" algn="ctr" defTabSz="0">
              <a:spcBef>
                <a:spcPts val="0"/>
              </a:spcBef>
              <a:spcAft>
                <a:spcPts val="0"/>
              </a:spcAft>
              <a:buNone/>
              <a:defRPr lang="en-US" sz="1920" b="1" kern="0" smtClean="0">
                <a:solidFill>
                  <a:srgbClr val="FFFFFF"/>
                </a:solidFill>
                <a:latin typeface="Tahoma"/>
                <a:cs typeface="Tahoma"/>
                <a:sym typeface="Tahoma"/>
              </a:defRPr>
            </a:lvl1pPr>
            <a:lvl2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 marL="0" indent="0">
              <a:buNone/>
              <a:defRPr lang="en-GB" sz="192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 fontAlgn="base">
              <a:spcBef>
                <a:spcPts val="240"/>
              </a:spcBef>
              <a:spcAft>
                <a:spcPts val="240"/>
              </a:spcAft>
            </a:pPr>
            <a:r>
              <a:rPr lang="en-US" dirty="0"/>
              <a:t>Heading</a:t>
            </a:r>
            <a:endParaRPr lang="en-GB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7504934" y="1716406"/>
            <a:ext cx="2995533" cy="799817"/>
          </a:xfrm>
          <a:gradFill flip="none" rotWithShape="1">
            <a:gsLst>
              <a:gs pos="0">
                <a:srgbClr val="C91D25"/>
              </a:gs>
              <a:gs pos="100000">
                <a:srgbClr val="9D1624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89860" tIns="35945" rIns="91295" bIns="35945" numCol="1" rtlCol="0" anchor="ctr" anchorCtr="0" compatLnSpc="1">
            <a:prstTxWarp prst="textNoShape">
              <a:avLst/>
            </a:prstTxWarp>
          </a:bodyPr>
          <a:lstStyle>
            <a:lvl1pPr marL="0" indent="0" algn="ctr" defTabSz="0">
              <a:spcBef>
                <a:spcPts val="0"/>
              </a:spcBef>
              <a:spcAft>
                <a:spcPts val="0"/>
              </a:spcAft>
              <a:buNone/>
              <a:defRPr lang="en-US" sz="1920" b="1" kern="0" smtClean="0">
                <a:solidFill>
                  <a:srgbClr val="FFFFFF"/>
                </a:solidFill>
                <a:latin typeface="Tahoma"/>
                <a:cs typeface="Tahoma"/>
                <a:sym typeface="Tahoma"/>
              </a:defRPr>
            </a:lvl1pPr>
            <a:lvl2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 marL="0" indent="0">
              <a:buNone/>
              <a:defRPr lang="en-GB" sz="192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 fontAlgn="base">
              <a:spcBef>
                <a:spcPts val="240"/>
              </a:spcBef>
              <a:spcAft>
                <a:spcPts val="240"/>
              </a:spcAft>
            </a:pPr>
            <a:r>
              <a:rPr lang="en-US" dirty="0"/>
              <a:t>Heading</a:t>
            </a:r>
            <a:endParaRPr lang="en-GB" dirty="0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7" hasCustomPrompt="1"/>
          </p:nvPr>
        </p:nvSpPr>
        <p:spPr>
          <a:xfrm>
            <a:off x="10882749" y="2506489"/>
            <a:ext cx="2995533" cy="479488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680"/>
            </a:lvl1pPr>
            <a:lvl2pPr>
              <a:spcBef>
                <a:spcPts val="0"/>
              </a:spcBef>
              <a:spcAft>
                <a:spcPts val="0"/>
              </a:spcAft>
              <a:defRPr sz="1440"/>
            </a:lvl2pPr>
            <a:lvl3pPr>
              <a:spcBef>
                <a:spcPts val="0"/>
              </a:spcBef>
              <a:spcAft>
                <a:spcPts val="0"/>
              </a:spcAft>
              <a:defRPr sz="1320"/>
            </a:lvl3pPr>
            <a:lvl4pPr>
              <a:spcBef>
                <a:spcPts val="0"/>
              </a:spcBef>
              <a:spcAft>
                <a:spcPts val="0"/>
              </a:spcAft>
              <a:defRPr sz="1320"/>
            </a:lvl4pPr>
            <a:lvl5pPr>
              <a:spcBef>
                <a:spcPts val="0"/>
              </a:spcBef>
              <a:spcAft>
                <a:spcPts val="0"/>
              </a:spcAft>
              <a:defRPr sz="13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10882749" y="1716406"/>
            <a:ext cx="2995533" cy="799817"/>
          </a:xfrm>
          <a:gradFill flip="none" rotWithShape="1">
            <a:gsLst>
              <a:gs pos="0">
                <a:srgbClr val="C91D25"/>
              </a:gs>
              <a:gs pos="100000">
                <a:srgbClr val="9D1624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89860" tIns="35945" rIns="91295" bIns="35945" numCol="1" rtlCol="0" anchor="ctr" anchorCtr="0" compatLnSpc="1">
            <a:prstTxWarp prst="textNoShape">
              <a:avLst/>
            </a:prstTxWarp>
          </a:bodyPr>
          <a:lstStyle>
            <a:lvl1pPr marL="0" indent="0" algn="ctr" defTabSz="0">
              <a:spcBef>
                <a:spcPts val="0"/>
              </a:spcBef>
              <a:spcAft>
                <a:spcPts val="0"/>
              </a:spcAft>
              <a:buNone/>
              <a:defRPr lang="en-US" sz="1920" b="1" kern="0" smtClean="0">
                <a:solidFill>
                  <a:srgbClr val="FFFFFF"/>
                </a:solidFill>
                <a:latin typeface="Tahoma"/>
                <a:cs typeface="Tahoma"/>
                <a:sym typeface="Tahoma"/>
              </a:defRPr>
            </a:lvl1pPr>
            <a:lvl2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 marL="0" indent="0">
              <a:buNone/>
              <a:defRPr lang="en-US" sz="1920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 marL="0" indent="0">
              <a:buNone/>
              <a:defRPr lang="en-GB" sz="1920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lvl="0" algn="ctr" fontAlgn="base">
              <a:spcBef>
                <a:spcPts val="240"/>
              </a:spcBef>
              <a:spcAft>
                <a:spcPts val="240"/>
              </a:spcAft>
            </a:pPr>
            <a:r>
              <a:rPr lang="en-US" dirty="0"/>
              <a:t>Heading</a:t>
            </a:r>
            <a:endParaRPr lang="en-GB" dirty="0"/>
          </a:p>
        </p:txBody>
      </p:sp>
      <p:sp>
        <p:nvSpPr>
          <p:cNvPr id="13" name="Title 1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>
                <a:solidFill>
                  <a:prstClr val="white">
                    <a:lumMod val="50000"/>
                  </a:prstClr>
                </a:solidFill>
              </a:rPr>
              <a:t>1. XXX  2. XXX  3. XXX  Source: XXX</a:t>
            </a:r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040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4055" y="-1440550"/>
            <a:ext cx="7477342" cy="10581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837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rows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746727" y="1716416"/>
            <a:ext cx="4033555" cy="2614417"/>
          </a:xfrm>
          <a:gradFill flip="none" rotWithShape="1">
            <a:gsLst>
              <a:gs pos="0">
                <a:srgbClr val="C91D25"/>
              </a:gs>
              <a:gs pos="100000">
                <a:srgbClr val="9D1624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89860" tIns="35945" rIns="91295" bIns="35945" numCol="1" rtlCol="0" anchor="ctr" anchorCtr="0" compatLnSpc="1">
            <a:prstTxWarp prst="textNoShape">
              <a:avLst/>
            </a:prstTxWarp>
          </a:bodyPr>
          <a:lstStyle>
            <a:lvl1pPr marL="0" indent="0" algn="ctr" defTabSz="0">
              <a:spcBef>
                <a:spcPts val="0"/>
              </a:spcBef>
              <a:spcAft>
                <a:spcPts val="0"/>
              </a:spcAft>
              <a:buNone/>
              <a:defRPr lang="en-US" sz="2880" b="1" kern="0" smtClean="0">
                <a:solidFill>
                  <a:srgbClr val="FFFFFF"/>
                </a:solidFill>
                <a:latin typeface="Tahoma"/>
                <a:cs typeface="Tahoma"/>
                <a:sym typeface="Tahoma"/>
              </a:defRPr>
            </a:lvl1pPr>
            <a:lvl2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GB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indent="0" fontAlgn="base">
              <a:spcBef>
                <a:spcPts val="240"/>
              </a:spcBef>
              <a:spcAft>
                <a:spcPts val="240"/>
              </a:spcAft>
            </a:pPr>
            <a:r>
              <a:rPr lang="en-US" dirty="0"/>
              <a:t>Heading</a:t>
            </a:r>
            <a:endParaRPr lang="en-GB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746727" y="4697557"/>
            <a:ext cx="4033555" cy="2614417"/>
          </a:xfrm>
          <a:gradFill flip="none" rotWithShape="1">
            <a:gsLst>
              <a:gs pos="0">
                <a:srgbClr val="C91D25"/>
              </a:gs>
              <a:gs pos="100000">
                <a:srgbClr val="9D1624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89860" tIns="35945" rIns="91295" bIns="35945" numCol="1" rtlCol="0" anchor="ctr" anchorCtr="0" compatLnSpc="1">
            <a:prstTxWarp prst="textNoShape">
              <a:avLst/>
            </a:prstTxWarp>
          </a:bodyPr>
          <a:lstStyle>
            <a:lvl1pPr marL="0" indent="0" algn="ctr" defTabSz="0">
              <a:spcBef>
                <a:spcPts val="0"/>
              </a:spcBef>
              <a:spcAft>
                <a:spcPts val="0"/>
              </a:spcAft>
              <a:buNone/>
              <a:defRPr lang="en-US" sz="2880" b="1" kern="0" smtClean="0">
                <a:solidFill>
                  <a:srgbClr val="FFFFFF"/>
                </a:solidFill>
                <a:latin typeface="Tahoma"/>
                <a:cs typeface="Tahoma"/>
                <a:sym typeface="Tahoma"/>
              </a:defRPr>
            </a:lvl1pPr>
            <a:lvl2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 lang="en-US" smtClean="0"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 lang="en-GB">
                <a:solidFill>
                  <a:schemeClr val="lt1"/>
                </a:solidFill>
                <a:latin typeface="+mn-lt"/>
                <a:cs typeface="+mn-cs"/>
              </a:defRPr>
            </a:lvl5pPr>
          </a:lstStyle>
          <a:p>
            <a:pPr marL="0" lvl="0" indent="0" fontAlgn="base">
              <a:spcBef>
                <a:spcPts val="240"/>
              </a:spcBef>
              <a:spcAft>
                <a:spcPts val="240"/>
              </a:spcAft>
            </a:pPr>
            <a:r>
              <a:rPr lang="en-US" dirty="0"/>
              <a:t>Heading</a:t>
            </a:r>
            <a:endParaRPr lang="en-GB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80297" y="1716416"/>
            <a:ext cx="9100821" cy="2614417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20"/>
            </a:lvl1pPr>
            <a:lvl2pPr>
              <a:spcBef>
                <a:spcPts val="0"/>
              </a:spcBef>
              <a:spcAft>
                <a:spcPts val="0"/>
              </a:spcAft>
              <a:defRPr sz="1680"/>
            </a:lvl2pPr>
            <a:lvl3pPr>
              <a:spcBef>
                <a:spcPts val="0"/>
              </a:spcBef>
              <a:spcAft>
                <a:spcPts val="0"/>
              </a:spcAft>
              <a:defRPr sz="1440"/>
            </a:lvl3pPr>
            <a:lvl4pPr>
              <a:spcBef>
                <a:spcPts val="0"/>
              </a:spcBef>
              <a:spcAft>
                <a:spcPts val="0"/>
              </a:spcAft>
              <a:defRPr sz="1320"/>
            </a:lvl4pPr>
            <a:lvl5pPr>
              <a:spcBef>
                <a:spcPts val="0"/>
              </a:spcBef>
              <a:spcAft>
                <a:spcPts val="0"/>
              </a:spcAft>
              <a:defRPr sz="13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4780297" y="4697557"/>
            <a:ext cx="9100821" cy="2614417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920"/>
            </a:lvl1pPr>
            <a:lvl2pPr>
              <a:spcBef>
                <a:spcPts val="0"/>
              </a:spcBef>
              <a:spcAft>
                <a:spcPts val="0"/>
              </a:spcAft>
              <a:defRPr sz="1680"/>
            </a:lvl2pPr>
            <a:lvl3pPr>
              <a:spcBef>
                <a:spcPts val="0"/>
              </a:spcBef>
              <a:spcAft>
                <a:spcPts val="0"/>
              </a:spcAft>
              <a:defRPr sz="1440"/>
            </a:lvl3pPr>
            <a:lvl4pPr>
              <a:spcBef>
                <a:spcPts val="0"/>
              </a:spcBef>
              <a:spcAft>
                <a:spcPts val="0"/>
              </a:spcAft>
              <a:defRPr sz="1320"/>
            </a:lvl4pPr>
            <a:lvl5pPr>
              <a:spcBef>
                <a:spcPts val="0"/>
              </a:spcBef>
              <a:spcAft>
                <a:spcPts val="0"/>
              </a:spcAft>
              <a:defRPr sz="1320"/>
            </a:lvl5pPr>
            <a:lvl6pPr>
              <a:defRPr sz="1920"/>
            </a:lvl6pPr>
            <a:lvl7pPr>
              <a:defRPr sz="1920"/>
            </a:lvl7pPr>
            <a:lvl8pPr>
              <a:defRPr sz="1920"/>
            </a:lvl8pPr>
            <a:lvl9pPr>
              <a:defRPr sz="192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solidFill>
                  <a:prstClr val="white">
                    <a:lumMod val="50000"/>
                  </a:prstClr>
                </a:solidFill>
              </a:rPr>
              <a:t>1. XXX  2. XXX  3. XXX  Source: XXX</a:t>
            </a:r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34808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20" dirty="0">
              <a:solidFill>
                <a:srgbClr val="C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4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7940039" y="4859052"/>
            <a:ext cx="6077926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4080" b="1">
                <a:solidFill>
                  <a:schemeClr val="accent1">
                    <a:lumMod val="1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Presentation</a:t>
            </a:r>
            <a:endParaRPr lang="es-ES" dirty="0"/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7940039" y="5568453"/>
            <a:ext cx="6077926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920" b="1">
                <a:solidFill>
                  <a:srgbClr val="DD0B1D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endParaRPr lang="es-ES" dirty="0"/>
          </a:p>
        </p:txBody>
      </p:sp>
      <p:sp>
        <p:nvSpPr>
          <p:cNvPr id="18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646003" y="7354244"/>
            <a:ext cx="4592320" cy="2876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56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Date</a:t>
            </a:r>
          </a:p>
        </p:txBody>
      </p:sp>
      <p:pic>
        <p:nvPicPr>
          <p:cNvPr id="10" name="Imagen 9" descr="Lippincot_rojo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25087"/>
            <a:ext cx="14630400" cy="283703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961" y="263695"/>
            <a:ext cx="4532296" cy="2534986"/>
          </a:xfrm>
          <a:prstGeom prst="rect">
            <a:avLst/>
          </a:prstGeom>
        </p:spPr>
      </p:pic>
      <p:sp>
        <p:nvSpPr>
          <p:cNvPr id="11" name="Rectángulo 8"/>
          <p:cNvSpPr/>
          <p:nvPr userDrawn="1"/>
        </p:nvSpPr>
        <p:spPr>
          <a:xfrm>
            <a:off x="646003" y="7797148"/>
            <a:ext cx="7315200" cy="9233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latin typeface="Arial" charset="0"/>
                <a:ea typeface="ＭＳ Ｐゴシック" charset="0"/>
              </a:rPr>
              <a:t>““Coca-Cola” and Lippincot Ribbon is a registered trademark of the Coca-Cola Company”</a:t>
            </a:r>
          </a:p>
        </p:txBody>
      </p:sp>
    </p:spTree>
    <p:extLst>
      <p:ext uri="{BB962C8B-B14F-4D97-AF65-F5344CB8AC3E}">
        <p14:creationId xmlns:p14="http://schemas.microsoft.com/office/powerpoint/2010/main" val="19806561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rot="0" spcFirstLastPara="0" vertOverflow="overflow" horzOverflow="overflow" vert="horz" wrap="square" lIns="109728" tIns="54864" rIns="109728" bIns="548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120" dirty="0">
              <a:solidFill>
                <a:srgbClr val="C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0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46003" y="2636789"/>
            <a:ext cx="8183274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 b="1">
                <a:solidFill>
                  <a:schemeClr val="accent1">
                    <a:lumMod val="1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Presentation</a:t>
            </a:r>
            <a:endParaRPr lang="es-ES" dirty="0"/>
          </a:p>
        </p:txBody>
      </p:sp>
      <p:pic>
        <p:nvPicPr>
          <p:cNvPr id="16" name="Imagen 9" descr="Lippincot_rojo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013" y="3470699"/>
            <a:ext cx="14688000" cy="284820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1693" y="85799"/>
            <a:ext cx="2304000" cy="1288663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45162" y="3236599"/>
            <a:ext cx="8183880" cy="344586"/>
          </a:xfrm>
        </p:spPr>
        <p:txBody>
          <a:bodyPr lIns="0" tIns="0" rIns="0" bIns="0"/>
          <a:lstStyle>
            <a:lvl1pPr marL="0" indent="0">
              <a:spcBef>
                <a:spcPts val="1440"/>
              </a:spcBef>
              <a:buNone/>
              <a:defRPr sz="2160" b="1">
                <a:solidFill>
                  <a:srgbClr val="DD0B1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92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92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92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92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ángulo 8"/>
          <p:cNvSpPr/>
          <p:nvPr userDrawn="1"/>
        </p:nvSpPr>
        <p:spPr>
          <a:xfrm>
            <a:off x="527594" y="7797148"/>
            <a:ext cx="7315200" cy="9233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latin typeface="Arial" charset="0"/>
                <a:ea typeface="ＭＳ Ｐゴシック" charset="0"/>
              </a:rPr>
              <a:t>““Coca-Cola” and Lippincot Ribbon is a registered trademark of the Coca-Cola Company”</a:t>
            </a:r>
          </a:p>
        </p:txBody>
      </p:sp>
    </p:spTree>
    <p:extLst>
      <p:ext uri="{BB962C8B-B14F-4D97-AF65-F5344CB8AC3E}">
        <p14:creationId xmlns:p14="http://schemas.microsoft.com/office/powerpoint/2010/main" val="36280874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 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594" y="326976"/>
            <a:ext cx="13584646" cy="64008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z="3120" b="1" dirty="0">
                <a:solidFill>
                  <a:srgbClr val="DD0B1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3322" y="316100"/>
            <a:ext cx="1168920" cy="653796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8162" y="1306832"/>
            <a:ext cx="13594080" cy="6221730"/>
          </a:xfrm>
        </p:spPr>
        <p:txBody>
          <a:bodyPr/>
          <a:lstStyle>
            <a:lvl1pPr marL="216000" indent="-216000">
              <a:spcBef>
                <a:spcPts val="720"/>
              </a:spcBef>
              <a:defRPr sz="14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21970" indent="-291466">
              <a:spcBef>
                <a:spcPts val="720"/>
              </a:spcBef>
              <a:defRPr sz="144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15340" indent="-272416">
              <a:spcBef>
                <a:spcPts val="720"/>
              </a:spcBef>
              <a:defRPr sz="144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169670" indent="-312420">
              <a:defRPr sz="144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4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807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556">
          <p15:clr>
            <a:srgbClr val="FBAE40"/>
          </p15:clr>
        </p15:guide>
        <p15:guide id="3" pos="204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C-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594" y="326976"/>
            <a:ext cx="13584646" cy="64008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US" sz="3120" b="1" dirty="0">
                <a:solidFill>
                  <a:srgbClr val="DD0B1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3322" y="316100"/>
            <a:ext cx="1168920" cy="65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745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556">
          <p15:clr>
            <a:srgbClr val="FBAE40"/>
          </p15:clr>
        </p15:guide>
        <p15:guide id="3" pos="204">
          <p15:clr>
            <a:srgbClr val="FBAE40"/>
          </p15:clr>
        </p15:guide>
        <p15:guide id="4" orient="horz" pos="2160">
          <p15:clr>
            <a:srgbClr val="FBAE40"/>
          </p15:clr>
        </p15:guide>
        <p15:guide id="5" orient="horz" pos="686">
          <p15:clr>
            <a:srgbClr val="FBAE40"/>
          </p15:clr>
        </p15:guide>
        <p15:guide id="6" orient="horz" pos="3952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 userDrawn="1"/>
        </p:nvSpPr>
        <p:spPr>
          <a:xfrm>
            <a:off x="-20320" y="-33332"/>
            <a:ext cx="14650720" cy="82629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 dirty="0">
              <a:solidFill>
                <a:srgbClr val="C00000"/>
              </a:solidFill>
            </a:endParaRPr>
          </a:p>
        </p:txBody>
      </p:sp>
      <p:sp>
        <p:nvSpPr>
          <p:cNvPr id="6" name="CuadroTexto 5"/>
          <p:cNvSpPr txBox="1"/>
          <p:nvPr userDrawn="1"/>
        </p:nvSpPr>
        <p:spPr>
          <a:xfrm>
            <a:off x="5615107" y="3724955"/>
            <a:ext cx="3796232" cy="9048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_tradnl" sz="5280" b="1" dirty="0">
                <a:solidFill>
                  <a:srgbClr val="DD0B1D"/>
                </a:solidFill>
                <a:latin typeface="Arial" charset="0"/>
                <a:ea typeface="ＭＳ Ｐゴシック" charset="0"/>
              </a:rPr>
              <a:t>Thank you!</a:t>
            </a:r>
          </a:p>
        </p:txBody>
      </p:sp>
      <p:sp>
        <p:nvSpPr>
          <p:cNvPr id="7" name="Rectángulo 6"/>
          <p:cNvSpPr/>
          <p:nvPr userDrawn="1"/>
        </p:nvSpPr>
        <p:spPr>
          <a:xfrm>
            <a:off x="624838" y="7956907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262626"/>
                </a:solidFill>
                <a:latin typeface="Arial" charset="0"/>
                <a:ea typeface="ＭＳ Ｐゴシック" charset="0"/>
              </a:rPr>
              <a:t>““Coca-Cola” is a registered trademark of the Coca-Cola Company”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905" y="6237209"/>
            <a:ext cx="3074642" cy="171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34273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dirty="0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</a:p>
        </p:txBody>
      </p:sp>
    </p:spTree>
    <p:extLst>
      <p:ext uri="{BB962C8B-B14F-4D97-AF65-F5344CB8AC3E}">
        <p14:creationId xmlns:p14="http://schemas.microsoft.com/office/powerpoint/2010/main" val="2486633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40BA9E5-EAB4-A140-A888-70C1E615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4630400" cy="8229599"/>
          </a:xfrm>
          <a:prstGeom prst="rect">
            <a:avLst/>
          </a:prstGeom>
          <a:effectLst>
            <a:softEdge rad="0"/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02B15CC-A269-F944-93AE-8848D9E93893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13A32B-DC3E-4E45-AB72-A6F4E2FD18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66C94E6-2690-E044-986A-61238C3FFB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09103" y="-756943"/>
            <a:ext cx="5812195" cy="39901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6C200B-FAEC-4546-95F5-0C64334FD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09103" y="4534843"/>
            <a:ext cx="5812195" cy="37906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FEB2B2-A099-4E4C-A592-EFF389BBF1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86401" y="3325496"/>
            <a:ext cx="3657602" cy="783820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NAME</a:t>
            </a:r>
            <a:endParaRPr lang="nl-NL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5E1149F-9A1B-A247-AC45-1DD8E0D529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6399" y="3937860"/>
            <a:ext cx="3641667" cy="596983"/>
          </a:xfrm>
        </p:spPr>
        <p:txBody>
          <a:bodyPr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78609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-1.11111E-6 L -0.00039 -0.06389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319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0" presetClass="path" presetSubtype="0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21 0.07153 L 0.00026 0.1632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4" y="458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2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build="p">
        <p:tmplLst>
          <p:tmpl lvl="1">
            <p:tnLst>
              <p:par>
                <p:cTn presetID="9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dissolve">
                      <p:cBhvr>
                        <p:cTn dur="2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440BA9E5-EAB4-A140-A888-70C1E6156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4630400" cy="8229599"/>
          </a:xfrm>
          <a:prstGeom prst="rect">
            <a:avLst/>
          </a:prstGeom>
          <a:effectLst>
            <a:softEdge rad="0"/>
          </a:effec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02B15CC-A269-F944-93AE-8848D9E93893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13A32B-DC3E-4E45-AB72-A6F4E2FD180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6667" y="-207264"/>
            <a:ext cx="11645686" cy="822960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3485601" y="4309111"/>
            <a:ext cx="55257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latin typeface="Androgyne" charset="0"/>
                <a:ea typeface="Androgyne" charset="0"/>
                <a:cs typeface="Androgyne" charset="0"/>
              </a:rPr>
              <a:t>People </a:t>
            </a:r>
            <a:r>
              <a:rPr lang="mr-IN" sz="3600" dirty="0">
                <a:latin typeface="Androgyne" charset="0"/>
                <a:ea typeface="Androgyne" charset="0"/>
                <a:cs typeface="Androgyne" charset="0"/>
              </a:rPr>
              <a:t>–</a:t>
            </a:r>
            <a:r>
              <a:rPr lang="en-US" sz="3600" dirty="0">
                <a:latin typeface="Androgyne" charset="0"/>
                <a:ea typeface="Androgyne" charset="0"/>
                <a:cs typeface="Androgyne" charset="0"/>
              </a:rPr>
              <a:t> Teamwork - Results</a:t>
            </a:r>
          </a:p>
        </p:txBody>
      </p:sp>
    </p:spTree>
    <p:extLst>
      <p:ext uri="{BB962C8B-B14F-4D97-AF65-F5344CB8AC3E}">
        <p14:creationId xmlns:p14="http://schemas.microsoft.com/office/powerpoint/2010/main" val="14688854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FF0737-9EC1-5D4D-93F7-8B45328AB4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4630400" cy="8229599"/>
          </a:xfrm>
          <a:prstGeom prst="rect">
            <a:avLst/>
          </a:prstGeom>
          <a:effectLst>
            <a:softEdge rad="0"/>
          </a:effectLst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9517" y="0"/>
            <a:ext cx="11645686" cy="82296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348439" y="4516374"/>
            <a:ext cx="55257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bg1"/>
                </a:solidFill>
                <a:latin typeface="Androgyne" charset="0"/>
                <a:ea typeface="Androgyne" charset="0"/>
                <a:cs typeface="Androgyne" charset="0"/>
              </a:rPr>
              <a:t>People </a:t>
            </a:r>
            <a:r>
              <a:rPr lang="mr-IN" sz="3600" dirty="0">
                <a:solidFill>
                  <a:schemeClr val="bg1"/>
                </a:solidFill>
                <a:latin typeface="Androgyne" charset="0"/>
                <a:ea typeface="Androgyne" charset="0"/>
                <a:cs typeface="Androgyne" charset="0"/>
              </a:rPr>
              <a:t>–</a:t>
            </a:r>
            <a:r>
              <a:rPr lang="en-US" sz="3600" dirty="0">
                <a:solidFill>
                  <a:schemeClr val="bg1"/>
                </a:solidFill>
                <a:latin typeface="Androgyne" charset="0"/>
                <a:ea typeface="Androgyne" charset="0"/>
                <a:cs typeface="Androgyne" charset="0"/>
              </a:rPr>
              <a:t> Teamwork - Results</a:t>
            </a:r>
          </a:p>
        </p:txBody>
      </p:sp>
    </p:spTree>
    <p:extLst>
      <p:ext uri="{BB962C8B-B14F-4D97-AF65-F5344CB8AC3E}">
        <p14:creationId xmlns:p14="http://schemas.microsoft.com/office/powerpoint/2010/main" val="2048292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59D522-2282-B041-9796-7D397D48FDA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1CE569-BB20-D842-B19E-D6DC91A3C4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66083" y="3042587"/>
            <a:ext cx="6603366" cy="4278630"/>
          </a:xfrm>
        </p:spPr>
        <p:txBody>
          <a:bodyPr/>
          <a:lstStyle>
            <a:lvl1pPr marL="462916" indent="-462916">
              <a:buFont typeface="+mj-lt"/>
              <a:buAutoNum type="arabicPeriod"/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1DF93E8-84ED-CB42-8EB3-638F293AF8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66083" y="1422256"/>
            <a:ext cx="7101862" cy="1590676"/>
          </a:xfrm>
        </p:spPr>
        <p:txBody>
          <a:bodyPr/>
          <a:lstStyle/>
          <a:p>
            <a:r>
              <a:rPr lang="en-US" dirty="0"/>
              <a:t>CONTENT</a:t>
            </a:r>
            <a:endParaRPr lang="nl-NL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BF1FFAC-59AE-554D-86C8-681E66E800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rot="5400000" flipH="1">
            <a:off x="-569751" y="568105"/>
            <a:ext cx="8231246" cy="7091744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000"/>
              <a:gd name="connsiteY0" fmla="*/ 3216 h 11216"/>
              <a:gd name="connsiteX1" fmla="*/ 10000 w 10000"/>
              <a:gd name="connsiteY1" fmla="*/ 0 h 11216"/>
              <a:gd name="connsiteX2" fmla="*/ 10000 w 10000"/>
              <a:gd name="connsiteY2" fmla="*/ 11216 h 11216"/>
              <a:gd name="connsiteX3" fmla="*/ 0 w 10000"/>
              <a:gd name="connsiteY3" fmla="*/ 11216 h 11216"/>
              <a:gd name="connsiteX4" fmla="*/ 0 w 10000"/>
              <a:gd name="connsiteY4" fmla="*/ 3216 h 11216"/>
              <a:gd name="connsiteX0" fmla="*/ 0 w 10000"/>
              <a:gd name="connsiteY0" fmla="*/ 4553 h 11216"/>
              <a:gd name="connsiteX1" fmla="*/ 10000 w 10000"/>
              <a:gd name="connsiteY1" fmla="*/ 0 h 11216"/>
              <a:gd name="connsiteX2" fmla="*/ 10000 w 10000"/>
              <a:gd name="connsiteY2" fmla="*/ 11216 h 11216"/>
              <a:gd name="connsiteX3" fmla="*/ 0 w 10000"/>
              <a:gd name="connsiteY3" fmla="*/ 11216 h 11216"/>
              <a:gd name="connsiteX4" fmla="*/ 0 w 10000"/>
              <a:gd name="connsiteY4" fmla="*/ 4553 h 11216"/>
              <a:gd name="connsiteX0" fmla="*/ 0 w 10000"/>
              <a:gd name="connsiteY0" fmla="*/ 3945 h 10608"/>
              <a:gd name="connsiteX1" fmla="*/ 9975 w 10000"/>
              <a:gd name="connsiteY1" fmla="*/ 0 h 10608"/>
              <a:gd name="connsiteX2" fmla="*/ 10000 w 10000"/>
              <a:gd name="connsiteY2" fmla="*/ 10608 h 10608"/>
              <a:gd name="connsiteX3" fmla="*/ 0 w 10000"/>
              <a:gd name="connsiteY3" fmla="*/ 10608 h 10608"/>
              <a:gd name="connsiteX4" fmla="*/ 0 w 10000"/>
              <a:gd name="connsiteY4" fmla="*/ 3945 h 10608"/>
              <a:gd name="connsiteX0" fmla="*/ 0 w 10002"/>
              <a:gd name="connsiteY0" fmla="*/ 3945 h 10608"/>
              <a:gd name="connsiteX1" fmla="*/ 10000 w 10002"/>
              <a:gd name="connsiteY1" fmla="*/ 0 h 10608"/>
              <a:gd name="connsiteX2" fmla="*/ 10000 w 10002"/>
              <a:gd name="connsiteY2" fmla="*/ 10608 h 10608"/>
              <a:gd name="connsiteX3" fmla="*/ 0 w 10002"/>
              <a:gd name="connsiteY3" fmla="*/ 10608 h 10608"/>
              <a:gd name="connsiteX4" fmla="*/ 0 w 10002"/>
              <a:gd name="connsiteY4" fmla="*/ 3945 h 10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608">
                <a:moveTo>
                  <a:pt x="0" y="3945"/>
                </a:moveTo>
                <a:lnTo>
                  <a:pt x="10000" y="0"/>
                </a:lnTo>
                <a:cubicBezTo>
                  <a:pt x="10008" y="3536"/>
                  <a:pt x="9992" y="7072"/>
                  <a:pt x="10000" y="10608"/>
                </a:cubicBezTo>
                <a:lnTo>
                  <a:pt x="0" y="10608"/>
                </a:lnTo>
                <a:lnTo>
                  <a:pt x="0" y="3945"/>
                </a:lnTo>
                <a:close/>
              </a:path>
            </a:pathLst>
          </a:cu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none"/>
          <a:lstStyle>
            <a:lvl1pPr algn="ctr">
              <a:defRPr>
                <a:noFill/>
              </a:defRPr>
            </a:lvl1pPr>
          </a:lstStyle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242E92-9078-3146-9A89-45FCC12EBF8A}"/>
              </a:ext>
            </a:extLst>
          </p:cNvPr>
          <p:cNvCxnSpPr>
            <a:cxnSpLocks/>
          </p:cNvCxnSpPr>
          <p:nvPr userDrawn="1"/>
        </p:nvCxnSpPr>
        <p:spPr>
          <a:xfrm flipV="1">
            <a:off x="4613565" y="2"/>
            <a:ext cx="2618509" cy="82295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 userDrawn="1"/>
        </p:nvGrpSpPr>
        <p:grpSpPr>
          <a:xfrm>
            <a:off x="397279" y="6019414"/>
            <a:ext cx="3570795" cy="1649755"/>
            <a:chOff x="673965" y="5194051"/>
            <a:chExt cx="2048778" cy="1002032"/>
          </a:xfrm>
        </p:grpSpPr>
        <p:pic>
          <p:nvPicPr>
            <p:cNvPr id="11" name="Picture 10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965" y="5194051"/>
              <a:ext cx="2048778" cy="1002032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 userDrawn="1"/>
          </p:nvSpPr>
          <p:spPr>
            <a:xfrm>
              <a:off x="1237473" y="6011014"/>
              <a:ext cx="921762" cy="1444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46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People </a:t>
              </a:r>
              <a:r>
                <a:rPr lang="mr-IN" sz="946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–</a:t>
              </a:r>
              <a:r>
                <a:rPr lang="en-US" sz="946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 Teamwork - Resul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8386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7968ABF-FB4B-A14D-9045-B519B8BE09DF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8796">
            <a:off x="-376960" y="-267207"/>
            <a:ext cx="7792544" cy="11027432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9279" y="3027679"/>
            <a:ext cx="7355842" cy="246761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B31A3D5-F9C9-8E4D-9CA9-E9FF726C36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06356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3D9A6B-09D8-46DF-9F07-BBC353E13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0B8B2C-B702-4040-99A9-449D7B5B1D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075957-7D40-443E-81EE-C50E8BCB5C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8CDACD-2EA1-4B3A-8F31-B0E4CF766D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F0F0AE-BAA4-44CE-8F41-A52FC585CC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9099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17968ABF-FB4B-A14D-9045-B519B8BE09DF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9279" y="3027679"/>
            <a:ext cx="7355842" cy="246761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B31A3D5-F9C9-8E4D-9CA9-E9FF726C36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37042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8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0559" y="3027678"/>
            <a:ext cx="7355842" cy="246761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8796">
            <a:off x="-598299" y="-15886"/>
            <a:ext cx="7788178" cy="1102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290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8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50559" y="3027678"/>
            <a:ext cx="7355842" cy="246761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8796">
            <a:off x="-598299" y="-15886"/>
            <a:ext cx="7788178" cy="11027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620727-7095-974D-882F-0722961FFF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68511">
            <a:off x="12061340" y="5973192"/>
            <a:ext cx="1454110" cy="205890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6910" y="6955586"/>
            <a:ext cx="3795456" cy="1066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D34CB4-A006-0C40-953C-B7A587983B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39396">
            <a:off x="12494403" y="6626964"/>
            <a:ext cx="1454109" cy="2058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950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bg>
      <p:bgPr>
        <a:blipFill dpi="0" rotWithShape="1">
          <a:blip r:embed="rId2" cstate="screen">
            <a:alphaModFix amt="1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8796">
            <a:off x="-598299" y="-15886"/>
            <a:ext cx="7788178" cy="11027432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9279" y="3027679"/>
            <a:ext cx="7355842" cy="246761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B31A3D5-F9C9-8E4D-9CA9-E9FF726C36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827434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E4A25E4-9A2A-3544-848F-B969E9F53C72}"/>
              </a:ext>
            </a:extLst>
          </p:cNvPr>
          <p:cNvSpPr/>
          <p:nvPr userDrawn="1"/>
        </p:nvSpPr>
        <p:spPr>
          <a:xfrm>
            <a:off x="-71120" y="-81279"/>
            <a:ext cx="14701520" cy="831088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88796">
            <a:off x="-598299" y="-15885"/>
            <a:ext cx="7788178" cy="11027432"/>
          </a:xfrm>
          <a:prstGeom prst="rect">
            <a:avLst/>
          </a:prstGeom>
        </p:spPr>
      </p:pic>
      <p:sp>
        <p:nvSpPr>
          <p:cNvPr id="8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9279" y="3027679"/>
            <a:ext cx="7355842" cy="246761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76993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bg>
      <p:bgPr>
        <a:blipFill dpi="0" rotWithShape="1">
          <a:blip r:embed="rId2" cstate="screen">
            <a:alphaModFix amt="1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69279" y="3027679"/>
            <a:ext cx="7355842" cy="246761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5B31A3D5-F9C9-8E4D-9CA9-E9FF726C36A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D34CB4-A006-0C40-953C-B7A587983B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39396">
            <a:off x="12494403" y="6626964"/>
            <a:ext cx="1454109" cy="2058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E620727-7095-974D-882F-0722961FFF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68511">
            <a:off x="12061340" y="5973192"/>
            <a:ext cx="1454110" cy="205890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6910" y="6955586"/>
            <a:ext cx="3795456" cy="106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39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C1A5E93-B72B-3446-B726-B4B6442CE7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4630400" cy="8229600"/>
          </a:xfrm>
        </p:spPr>
        <p:txBody>
          <a:bodyPr/>
          <a:lstStyle/>
          <a:p>
            <a:r>
              <a:rPr lang="nl-NL" dirty="0"/>
              <a:t>INSERT PICTURE SLIDE</a:t>
            </a:r>
          </a:p>
        </p:txBody>
      </p:sp>
    </p:spTree>
    <p:extLst>
      <p:ext uri="{BB962C8B-B14F-4D97-AF65-F5344CB8AC3E}">
        <p14:creationId xmlns:p14="http://schemas.microsoft.com/office/powerpoint/2010/main" val="9629286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29258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244" y="2656036"/>
            <a:ext cx="9805438" cy="246761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13599" y="90804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30300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244" y="2656036"/>
            <a:ext cx="9805438" cy="246761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13599" y="90804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14688" y="5454017"/>
            <a:ext cx="1522058" cy="498950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433" y="5454016"/>
            <a:ext cx="1522058" cy="4989508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2670" y="5454017"/>
            <a:ext cx="1522058" cy="4989508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8907" y="5454018"/>
            <a:ext cx="1522058" cy="498950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10653" y="5454017"/>
            <a:ext cx="1522058" cy="4989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762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45A4AB-14FA-48A8-B138-29752DAA46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8221" y="2051688"/>
            <a:ext cx="12618720" cy="3423284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AF9214-E01A-4C36-ADB5-5AEF8231B7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8221" y="5507358"/>
            <a:ext cx="12618720" cy="1800224"/>
          </a:xfrm>
        </p:spPr>
        <p:txBody>
          <a:bodyPr/>
          <a:lstStyle>
            <a:lvl1pPr marL="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1pPr>
            <a:lvl2pPr marL="4114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22960" indent="0">
              <a:buNone/>
              <a:defRPr sz="1620">
                <a:solidFill>
                  <a:schemeClr val="tx1">
                    <a:tint val="75000"/>
                  </a:schemeClr>
                </a:solidFill>
              </a:defRPr>
            </a:lvl3pPr>
            <a:lvl4pPr marL="12344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92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740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88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8036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184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EDBA43-2B9F-44EE-B727-E40CFC9BD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6C8FA9-775B-4919-890C-BABF7DCDFD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FE7B1E-ECB0-473F-8D92-CF9C57A2A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5422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244" y="2656036"/>
            <a:ext cx="9805438" cy="246761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13599" y="90804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003" y="5240934"/>
            <a:ext cx="2048256" cy="542056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6243" y="5240934"/>
            <a:ext cx="2048256" cy="542056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154" y="5240934"/>
            <a:ext cx="2048256" cy="542056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0242" y="5240932"/>
            <a:ext cx="2048256" cy="542056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2480" y="5240932"/>
            <a:ext cx="2048256" cy="5420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073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A65BB52-A8C8-BE45-B344-8969A1193135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524" y="5283560"/>
            <a:ext cx="3424958" cy="4846748"/>
          </a:xfrm>
          <a:prstGeom prst="rect">
            <a:avLst/>
          </a:prstGeom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244" y="2656036"/>
            <a:ext cx="9805438" cy="246761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CE543D4-695D-EC4E-838D-02E94E0D4E0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04" y="5283560"/>
            <a:ext cx="3424958" cy="484674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DD18367-6ED0-334B-8AC5-E966EFC8F6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6484" y="5283560"/>
            <a:ext cx="3424958" cy="484674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57E4B1D-8742-1C44-8787-B7F608AFBC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2964" y="5283560"/>
            <a:ext cx="3424958" cy="48467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58EEE3E-AE9A-9E45-9236-AAF8989238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9444" y="5283560"/>
            <a:ext cx="3424958" cy="4846748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2406652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13599" y="90804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07066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E4A25E4-9A2A-3544-848F-B969E9F53C72}"/>
              </a:ext>
            </a:extLst>
          </p:cNvPr>
          <p:cNvSpPr/>
          <p:nvPr userDrawn="1"/>
        </p:nvSpPr>
        <p:spPr>
          <a:xfrm>
            <a:off x="-71120" y="-81279"/>
            <a:ext cx="14701520" cy="831088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244" y="2656036"/>
            <a:ext cx="9805438" cy="246761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13599" y="90804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2406652"/>
            <a:ext cx="1196234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003" y="5240934"/>
            <a:ext cx="2048256" cy="542056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6243" y="5240934"/>
            <a:ext cx="2048256" cy="542056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96154" y="5240934"/>
            <a:ext cx="2048256" cy="542056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0242" y="5240932"/>
            <a:ext cx="2048256" cy="542056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52480" y="5240932"/>
            <a:ext cx="2048256" cy="5420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7345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E4A25E4-9A2A-3544-848F-B969E9F53C72}"/>
              </a:ext>
            </a:extLst>
          </p:cNvPr>
          <p:cNvSpPr/>
          <p:nvPr userDrawn="1"/>
        </p:nvSpPr>
        <p:spPr>
          <a:xfrm>
            <a:off x="-71120" y="-81279"/>
            <a:ext cx="14701520" cy="831088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244" y="2656036"/>
            <a:ext cx="9805438" cy="246761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13599" y="90804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2406652"/>
            <a:ext cx="1196234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4311" y="4620329"/>
            <a:ext cx="4289642" cy="607378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9486" y="4620329"/>
            <a:ext cx="4289642" cy="607378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9795" y="4620329"/>
            <a:ext cx="4289642" cy="607378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35083" y="4643121"/>
            <a:ext cx="4289642" cy="6073787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A478C4E-107B-BF4A-92A7-6573FB80A3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390" y="4643121"/>
            <a:ext cx="4289642" cy="6073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644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900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900" decel="100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decel="100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900" decel="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3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900" decel="100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A65BB52-A8C8-BE45-B344-8969A1193135}"/>
              </a:ext>
            </a:extLst>
          </p:cNvPr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66244" y="3113236"/>
            <a:ext cx="9805438" cy="2467610"/>
          </a:xfrm>
          <a:prstGeom prst="rect">
            <a:avLst/>
          </a:prstGeom>
        </p:spPr>
        <p:txBody>
          <a:bodyPr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2863852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13599" y="136524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16855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FF0737-9EC1-5D4D-93F7-8B45328AB4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4630400" cy="822959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0B871400-0154-F440-944C-62EC677CBE93}"/>
              </a:ext>
            </a:extLst>
          </p:cNvPr>
          <p:cNvGrpSpPr/>
          <p:nvPr userDrawn="1"/>
        </p:nvGrpSpPr>
        <p:grpSpPr>
          <a:xfrm>
            <a:off x="0" y="0"/>
            <a:ext cx="8184515" cy="8229600"/>
            <a:chOff x="0" y="0"/>
            <a:chExt cx="6820429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A1A72C6-E19C-7940-A655-6B720BFD4D70}"/>
                </a:ext>
              </a:extLst>
            </p:cNvPr>
            <p:cNvSpPr/>
            <p:nvPr userDrawn="1"/>
          </p:nvSpPr>
          <p:spPr>
            <a:xfrm>
              <a:off x="0" y="0"/>
              <a:ext cx="6820429" cy="6858000"/>
            </a:xfrm>
            <a:custGeom>
              <a:avLst/>
              <a:gdLst>
                <a:gd name="connsiteX0" fmla="*/ 0 w 4043363"/>
                <a:gd name="connsiteY0" fmla="*/ 0 h 6858000"/>
                <a:gd name="connsiteX1" fmla="*/ 4043363 w 4043363"/>
                <a:gd name="connsiteY1" fmla="*/ 0 h 6858000"/>
                <a:gd name="connsiteX2" fmla="*/ 4043363 w 4043363"/>
                <a:gd name="connsiteY2" fmla="*/ 6858000 h 6858000"/>
                <a:gd name="connsiteX3" fmla="*/ 0 w 4043363"/>
                <a:gd name="connsiteY3" fmla="*/ 6858000 h 6858000"/>
                <a:gd name="connsiteX4" fmla="*/ 0 w 4043363"/>
                <a:gd name="connsiteY4" fmla="*/ 0 h 6858000"/>
                <a:gd name="connsiteX0" fmla="*/ 0 w 6820429"/>
                <a:gd name="connsiteY0" fmla="*/ 0 h 6858000"/>
                <a:gd name="connsiteX1" fmla="*/ 6820429 w 6820429"/>
                <a:gd name="connsiteY1" fmla="*/ 0 h 6858000"/>
                <a:gd name="connsiteX2" fmla="*/ 4043363 w 6820429"/>
                <a:gd name="connsiteY2" fmla="*/ 6858000 h 6858000"/>
                <a:gd name="connsiteX3" fmla="*/ 0 w 6820429"/>
                <a:gd name="connsiteY3" fmla="*/ 6858000 h 6858000"/>
                <a:gd name="connsiteX4" fmla="*/ 0 w 6820429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20429" h="6858000">
                  <a:moveTo>
                    <a:pt x="0" y="0"/>
                  </a:moveTo>
                  <a:lnTo>
                    <a:pt x="6820429" y="0"/>
                  </a:lnTo>
                  <a:lnTo>
                    <a:pt x="4043363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20" dirty="0"/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A8872BFD-29C1-134C-9D14-234DAEE7A47B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886200" y="1"/>
              <a:ext cx="2763982" cy="6857999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1">
            <a:extLst>
              <a:ext uri="{FF2B5EF4-FFF2-40B4-BE49-F238E27FC236}">
                <a16:creationId xmlns:a16="http://schemas.microsoft.com/office/drawing/2014/main" id="{2914B806-A45B-7948-9860-D722796B4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645" y="2881402"/>
            <a:ext cx="4421558" cy="27660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4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A662AA-F587-4B46-9522-363BDFA2B7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930405" y="2569212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5D4C0E-CC11-294D-88E7-F109D5114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0001" y="123316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397279" y="6019414"/>
            <a:ext cx="3570795" cy="1649755"/>
            <a:chOff x="673965" y="5194051"/>
            <a:chExt cx="2048778" cy="1002032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965" y="5194051"/>
              <a:ext cx="2048778" cy="1002032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 userDrawn="1"/>
          </p:nvSpPr>
          <p:spPr>
            <a:xfrm>
              <a:off x="1237473" y="6011014"/>
              <a:ext cx="921762" cy="1444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46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People </a:t>
              </a:r>
              <a:r>
                <a:rPr lang="mr-IN" sz="946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–</a:t>
              </a:r>
              <a:r>
                <a:rPr lang="en-US" sz="946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 Teamwork - Resul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85406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FF0737-9EC1-5D4D-93F7-8B45328AB4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4630400" cy="8229599"/>
          </a:xfrm>
          <a:prstGeom prst="rect">
            <a:avLst/>
          </a:prstGeom>
        </p:spPr>
      </p:pic>
      <p:sp>
        <p:nvSpPr>
          <p:cNvPr id="6" name="Title 11">
            <a:extLst>
              <a:ext uri="{FF2B5EF4-FFF2-40B4-BE49-F238E27FC236}">
                <a16:creationId xmlns:a16="http://schemas.microsoft.com/office/drawing/2014/main" id="{2914B806-A45B-7948-9860-D722796B4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645" y="2881402"/>
            <a:ext cx="4421558" cy="27660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4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A662AA-F587-4B46-9522-363BDFA2B7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930405" y="2569212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985D4C0E-CC11-294D-88E7-F109D51147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40001" y="1233168"/>
            <a:ext cx="137704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5389769" y="1233166"/>
            <a:ext cx="9855432" cy="5144413"/>
            <a:chOff x="673965" y="5194051"/>
            <a:chExt cx="2048778" cy="1002032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965" y="5194051"/>
              <a:ext cx="2048778" cy="1002032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 userDrawn="1"/>
          </p:nvSpPr>
          <p:spPr>
            <a:xfrm>
              <a:off x="1179131" y="6011014"/>
              <a:ext cx="1038447" cy="1151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People </a:t>
              </a:r>
              <a:r>
                <a:rPr lang="mr-IN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–</a:t>
              </a:r>
              <a:r>
                <a:rPr lang="en-US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 Teamwork - Resul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970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FF0737-9EC1-5D4D-93F7-8B45328AB4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4630400" cy="8229599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C5EB1607-AA1C-EE48-B6C9-C6648B909DC4}"/>
              </a:ext>
            </a:extLst>
          </p:cNvPr>
          <p:cNvGrpSpPr/>
          <p:nvPr userDrawn="1"/>
        </p:nvGrpSpPr>
        <p:grpSpPr>
          <a:xfrm>
            <a:off x="0" y="0"/>
            <a:ext cx="8184515" cy="8229600"/>
            <a:chOff x="0" y="0"/>
            <a:chExt cx="6820429" cy="6858000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A1A72C6-E19C-7940-A655-6B720BFD4D70}"/>
                </a:ext>
              </a:extLst>
            </p:cNvPr>
            <p:cNvSpPr/>
            <p:nvPr userDrawn="1"/>
          </p:nvSpPr>
          <p:spPr>
            <a:xfrm>
              <a:off x="0" y="0"/>
              <a:ext cx="6820429" cy="6858000"/>
            </a:xfrm>
            <a:custGeom>
              <a:avLst/>
              <a:gdLst>
                <a:gd name="connsiteX0" fmla="*/ 0 w 4043363"/>
                <a:gd name="connsiteY0" fmla="*/ 0 h 6858000"/>
                <a:gd name="connsiteX1" fmla="*/ 4043363 w 4043363"/>
                <a:gd name="connsiteY1" fmla="*/ 0 h 6858000"/>
                <a:gd name="connsiteX2" fmla="*/ 4043363 w 4043363"/>
                <a:gd name="connsiteY2" fmla="*/ 6858000 h 6858000"/>
                <a:gd name="connsiteX3" fmla="*/ 0 w 4043363"/>
                <a:gd name="connsiteY3" fmla="*/ 6858000 h 6858000"/>
                <a:gd name="connsiteX4" fmla="*/ 0 w 4043363"/>
                <a:gd name="connsiteY4" fmla="*/ 0 h 6858000"/>
                <a:gd name="connsiteX0" fmla="*/ 0 w 6820429"/>
                <a:gd name="connsiteY0" fmla="*/ 0 h 6858000"/>
                <a:gd name="connsiteX1" fmla="*/ 6820429 w 6820429"/>
                <a:gd name="connsiteY1" fmla="*/ 0 h 6858000"/>
                <a:gd name="connsiteX2" fmla="*/ 4043363 w 6820429"/>
                <a:gd name="connsiteY2" fmla="*/ 6858000 h 6858000"/>
                <a:gd name="connsiteX3" fmla="*/ 0 w 6820429"/>
                <a:gd name="connsiteY3" fmla="*/ 6858000 h 6858000"/>
                <a:gd name="connsiteX4" fmla="*/ 0 w 6820429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820429" h="6858000">
                  <a:moveTo>
                    <a:pt x="0" y="0"/>
                  </a:moveTo>
                  <a:lnTo>
                    <a:pt x="6820429" y="0"/>
                  </a:lnTo>
                  <a:lnTo>
                    <a:pt x="4043363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620" dirty="0"/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735E9D4-5406-4242-AF0F-5B2ABDB66A0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927764" y="0"/>
              <a:ext cx="2763981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11">
            <a:extLst>
              <a:ext uri="{FF2B5EF4-FFF2-40B4-BE49-F238E27FC236}">
                <a16:creationId xmlns:a16="http://schemas.microsoft.com/office/drawing/2014/main" id="{2914B806-A45B-7948-9860-D722796B4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645" y="2856463"/>
            <a:ext cx="4446498" cy="27660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4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A662AA-F587-4B46-9522-363BDFA2B7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930405" y="2569212"/>
            <a:ext cx="1196234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EB51BEA4-B02E-3448-A4F4-84763B42E2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00961" y="1233168"/>
            <a:ext cx="137056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C78758-6E07-414F-9C1B-0C357F906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926183F-559F-7949-8A86-A3F6AA976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5389769" y="1233166"/>
            <a:ext cx="9855432" cy="5144413"/>
            <a:chOff x="673965" y="5194051"/>
            <a:chExt cx="2048778" cy="1002032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965" y="5194051"/>
              <a:ext cx="2048778" cy="1002032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 userDrawn="1"/>
          </p:nvSpPr>
          <p:spPr>
            <a:xfrm>
              <a:off x="1179131" y="6011014"/>
              <a:ext cx="1038447" cy="11510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People </a:t>
              </a:r>
              <a:r>
                <a:rPr lang="mr-IN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–</a:t>
              </a:r>
              <a:r>
                <a:rPr lang="en-US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 Teamwork - Resul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8272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FF0737-9EC1-5D4D-93F7-8B45328AB4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"/>
            <a:ext cx="14630400" cy="8229599"/>
          </a:xfrm>
          <a:prstGeom prst="rect">
            <a:avLst/>
          </a:prstGeom>
        </p:spPr>
      </p:pic>
      <p:sp>
        <p:nvSpPr>
          <p:cNvPr id="6" name="Title 11">
            <a:extLst>
              <a:ext uri="{FF2B5EF4-FFF2-40B4-BE49-F238E27FC236}">
                <a16:creationId xmlns:a16="http://schemas.microsoft.com/office/drawing/2014/main" id="{2914B806-A45B-7948-9860-D722796B4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0645" y="2856463"/>
            <a:ext cx="4446498" cy="276606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4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CHAPTER TITLE</a:t>
            </a:r>
            <a:endParaRPr lang="nl-NL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1A662AA-F587-4B46-9522-363BDFA2B7E9}"/>
              </a:ext>
            </a:extLst>
          </p:cNvPr>
          <p:cNvCxnSpPr>
            <a:cxnSpLocks/>
          </p:cNvCxnSpPr>
          <p:nvPr userDrawn="1"/>
        </p:nvCxnSpPr>
        <p:spPr>
          <a:xfrm flipH="1">
            <a:off x="1930405" y="2569212"/>
            <a:ext cx="1196234" cy="0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EB51BEA4-B02E-3448-A4F4-84763B42E2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900961" y="1233168"/>
            <a:ext cx="1370562" cy="1498604"/>
          </a:xfrm>
        </p:spPr>
        <p:txBody>
          <a:bodyPr>
            <a:normAutofit/>
          </a:bodyPr>
          <a:lstStyle>
            <a:lvl1pPr>
              <a:defRPr sz="5940" b="1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01</a:t>
            </a:r>
            <a:endParaRPr lang="nl-NL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C78758-6E07-414F-9C1B-0C357F906D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926183F-559F-7949-8A86-A3F6AA976B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6457950" y="1337310"/>
            <a:ext cx="8798680" cy="4434382"/>
            <a:chOff x="673965" y="5194051"/>
            <a:chExt cx="2048778" cy="1002032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3965" y="5194051"/>
              <a:ext cx="2048778" cy="1002032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 userDrawn="1"/>
          </p:nvSpPr>
          <p:spPr>
            <a:xfrm>
              <a:off x="1116769" y="6011014"/>
              <a:ext cx="1163168" cy="1335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People </a:t>
              </a:r>
              <a:r>
                <a:rPr lang="mr-IN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–</a:t>
              </a:r>
              <a:r>
                <a:rPr lang="en-US" sz="3240" dirty="0">
                  <a:solidFill>
                    <a:schemeClr val="bg1"/>
                  </a:solidFill>
                  <a:latin typeface="Androgyne" charset="0"/>
                  <a:ea typeface="Androgyne" charset="0"/>
                  <a:cs typeface="Androgyne" charset="0"/>
                </a:rPr>
                <a:t> Teamwork - Resul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70565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8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234" y="4242816"/>
            <a:ext cx="4374157" cy="2097024"/>
          </a:xfrm>
        </p:spPr>
        <p:txBody>
          <a:bodyPr anchor="t" anchorCtr="0">
            <a:normAutofit/>
          </a:bodyPr>
          <a:lstStyle>
            <a:lvl1pPr>
              <a:defRPr sz="2880"/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</a:t>
            </a: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A66036-2A5E-C24C-9135-DEF835367D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C15FA1-97EC-7845-9614-4B72E739FAB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84" y="0"/>
            <a:ext cx="3584448" cy="329184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D217ADD-3F82-0446-A9F4-C25C77DA6A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35680" y="0"/>
            <a:ext cx="3633216" cy="329184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FADAD33-9B26-E14B-8CC8-33DAAA5197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44512" y="0"/>
            <a:ext cx="3681984" cy="329184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B0A6448C-0384-2F4D-B55C-135B1BF595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802112" y="0"/>
            <a:ext cx="3828288" cy="329184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9DC4A0B-B6F0-6F48-B64E-E16806EC61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78039" y="6329938"/>
            <a:ext cx="778040" cy="1101641"/>
          </a:xfrm>
          <a:prstGeom prst="rect">
            <a:avLst/>
          </a:prstGeom>
        </p:spPr>
      </p:pic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2B5CAEB-F62E-B04A-8844-3F05FC8856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58792" y="4239493"/>
            <a:ext cx="7681651" cy="3391592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 dirty="0"/>
              <a:t>Body tex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E9A3DBD-A838-9247-8E72-F9CAFD34DACE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3391592"/>
            <a:ext cx="14630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99181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4E9D1-FF41-4950-8E34-06698D0C9A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A637FC-8DD6-4CB0-9A56-0E5610C91EF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05840" y="2190750"/>
            <a:ext cx="6217920" cy="5221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BD1C45-5640-4037-9089-A258CE3104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406640" y="2190750"/>
            <a:ext cx="6217920" cy="5221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301C33-4E09-41FD-A654-A5963D8969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3C2948-BAB6-4762-A1C0-A37402D417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4B9CA9-5E74-4651-9E75-FDDE1AFF0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9456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6414" y="1292352"/>
            <a:ext cx="9927787" cy="810768"/>
          </a:xfrm>
        </p:spPr>
        <p:txBody>
          <a:bodyPr anchor="t" anchorCtr="0">
            <a:normAutofit/>
          </a:bodyPr>
          <a:lstStyle>
            <a:lvl1pPr>
              <a:defRPr sz="2880"/>
            </a:lvl1pPr>
          </a:lstStyle>
          <a:p>
            <a:r>
              <a:rPr lang="en-US" dirty="0"/>
              <a:t>CLICK TO EDIT TITLE</a:t>
            </a:r>
            <a:endParaRPr lang="nl-NL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C15FA1-97EC-7845-9614-4B72E739FA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995663" y="0"/>
            <a:ext cx="3634739" cy="822960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nl-NL" dirty="0"/>
              <a:t>INSERT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D7F6401-EED8-E24A-85AC-82AB5145E5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7240" y="2743201"/>
            <a:ext cx="4480560" cy="4613563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291ECF-CFDE-EB4F-BF46-053053558595}"/>
              </a:ext>
            </a:extLst>
          </p:cNvPr>
          <p:cNvCxnSpPr>
            <a:cxnSpLocks/>
          </p:cNvCxnSpPr>
          <p:nvPr userDrawn="1"/>
        </p:nvCxnSpPr>
        <p:spPr>
          <a:xfrm>
            <a:off x="10881360" y="0"/>
            <a:ext cx="0" cy="822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174167EA-EFBD-CA4F-BF1E-43C53AE6128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73418" y="2743201"/>
            <a:ext cx="4480560" cy="4613563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25365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6414" y="1292352"/>
            <a:ext cx="4674558" cy="2097024"/>
          </a:xfrm>
        </p:spPr>
        <p:txBody>
          <a:bodyPr anchor="t" anchorCtr="0">
            <a:normAutofit/>
          </a:bodyPr>
          <a:lstStyle>
            <a:lvl1pPr>
              <a:defRPr sz="2880"/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</a:t>
            </a:r>
            <a:endParaRPr lang="nl-NL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C15FA1-97EC-7845-9614-4B72E739FAB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435122" y="0"/>
            <a:ext cx="3584448" cy="248716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D217ADD-3F82-0446-A9F4-C25C77DA6A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1043952" y="0"/>
            <a:ext cx="3586448" cy="248716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FADAD33-9B26-E14B-8CC8-33DAAA5197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35120" y="2507800"/>
            <a:ext cx="3582573" cy="329184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B0A6448C-0384-2F4D-B55C-135B1BF595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043952" y="2513425"/>
            <a:ext cx="3584448" cy="3283075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61622-CDDB-8C43-B45F-66AF04C751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35122" y="5842992"/>
            <a:ext cx="3584448" cy="238660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AE8FAB9-1ED3-234A-9B9C-8EDC31C027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043952" y="5842992"/>
            <a:ext cx="3586448" cy="238660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D7F6401-EED8-E24A-85AC-82AB5145E5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7240" y="3765668"/>
            <a:ext cx="4740333" cy="3591097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291ECF-CFDE-EB4F-BF46-053053558595}"/>
              </a:ext>
            </a:extLst>
          </p:cNvPr>
          <p:cNvCxnSpPr>
            <a:cxnSpLocks/>
          </p:cNvCxnSpPr>
          <p:nvPr userDrawn="1"/>
        </p:nvCxnSpPr>
        <p:spPr>
          <a:xfrm>
            <a:off x="7306887" y="0"/>
            <a:ext cx="2" cy="822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6149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C15FA1-97EC-7845-9614-4B72E739FAB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79216" y="0"/>
            <a:ext cx="2103392" cy="248716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D217ADD-3F82-0446-A9F4-C25C77DA6A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2525834" y="0"/>
            <a:ext cx="2104566" cy="248716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FADAD33-9B26-E14B-8CC8-33DAAA5197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378441" y="2507800"/>
            <a:ext cx="2102293" cy="329184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B0A6448C-0384-2F4D-B55C-135B1BF595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2525008" y="2513425"/>
            <a:ext cx="2103392" cy="3283075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61622-CDDB-8C43-B45F-66AF04C751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379216" y="5842992"/>
            <a:ext cx="2103392" cy="238660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AE8FAB9-1ED3-234A-9B9C-8EDC31C027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525834" y="5842992"/>
            <a:ext cx="2104566" cy="238660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291ECF-CFDE-EB4F-BF46-053053558595}"/>
              </a:ext>
            </a:extLst>
          </p:cNvPr>
          <p:cNvCxnSpPr>
            <a:cxnSpLocks/>
          </p:cNvCxnSpPr>
          <p:nvPr userDrawn="1"/>
        </p:nvCxnSpPr>
        <p:spPr>
          <a:xfrm>
            <a:off x="10278687" y="0"/>
            <a:ext cx="2" cy="822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>
            <a:extLst>
              <a:ext uri="{FF2B5EF4-FFF2-40B4-BE49-F238E27FC236}">
                <a16:creationId xmlns:a16="http://schemas.microsoft.com/office/drawing/2014/main" id="{BC5CAE1B-67D3-2548-8A19-03E935C781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6414" y="1292352"/>
            <a:ext cx="8992064" cy="810768"/>
          </a:xfrm>
        </p:spPr>
        <p:txBody>
          <a:bodyPr anchor="t" anchorCtr="0">
            <a:normAutofit/>
          </a:bodyPr>
          <a:lstStyle>
            <a:lvl1pPr>
              <a:defRPr sz="2880"/>
            </a:lvl1pPr>
          </a:lstStyle>
          <a:p>
            <a:r>
              <a:rPr lang="en-US" dirty="0"/>
              <a:t>CLICK TO EDIT TITLE</a:t>
            </a:r>
            <a:endParaRPr lang="nl-NL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B4F539FD-05C2-684E-9F15-F8D5BB5F93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77241" y="2743201"/>
            <a:ext cx="9006840" cy="4613563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469817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5955" y="1292352"/>
            <a:ext cx="4674558" cy="2097024"/>
          </a:xfrm>
        </p:spPr>
        <p:txBody>
          <a:bodyPr anchor="t" anchorCtr="0">
            <a:normAutofit/>
          </a:bodyPr>
          <a:lstStyle>
            <a:lvl1pPr>
              <a:defRPr sz="2880"/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</a:t>
            </a: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A66036-2A5E-C24C-9135-DEF835367D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C15FA1-97EC-7845-9614-4B72E739FA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223760" cy="822960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nl-NL" dirty="0"/>
              <a:t>INSERT PICTUR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D7F6401-EED8-E24A-85AC-82AB5145E5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26781" y="3765668"/>
            <a:ext cx="4740333" cy="3591097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291ECF-CFDE-EB4F-BF46-053053558595}"/>
              </a:ext>
            </a:extLst>
          </p:cNvPr>
          <p:cNvCxnSpPr>
            <a:cxnSpLocks/>
          </p:cNvCxnSpPr>
          <p:nvPr userDrawn="1"/>
        </p:nvCxnSpPr>
        <p:spPr>
          <a:xfrm>
            <a:off x="7306887" y="0"/>
            <a:ext cx="2" cy="822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01514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1383792"/>
            <a:ext cx="13098781" cy="787908"/>
          </a:xfrm>
        </p:spPr>
        <p:txBody>
          <a:bodyPr anchor="t" anchorCtr="0">
            <a:normAutofit/>
          </a:bodyPr>
          <a:lstStyle>
            <a:lvl1pPr algn="ctr">
              <a:defRPr sz="2880"/>
            </a:lvl1pPr>
          </a:lstStyle>
          <a:p>
            <a:r>
              <a:rPr lang="en-US" dirty="0"/>
              <a:t>CLICK TO EDIT TITLE</a:t>
            </a: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A66036-2A5E-C24C-9135-DEF835367D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AED25DC-E61D-9442-938F-1527EC6F6B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5800" y="2714108"/>
            <a:ext cx="4137661" cy="3591097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BE90BAD-A882-6B4F-BD82-7AF52631EB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101917" y="2736968"/>
            <a:ext cx="4137661" cy="3591097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EA313C9-B3F7-224D-9077-F6C6E06AE0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819" y="2759828"/>
            <a:ext cx="4137661" cy="3591097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44932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5840" y="1063752"/>
            <a:ext cx="13007341" cy="787908"/>
          </a:xfrm>
        </p:spPr>
        <p:txBody>
          <a:bodyPr anchor="t" anchorCtr="0">
            <a:normAutofit/>
          </a:bodyPr>
          <a:lstStyle>
            <a:lvl1pPr algn="ctr">
              <a:defRPr sz="2880"/>
            </a:lvl1pPr>
          </a:lstStyle>
          <a:p>
            <a:r>
              <a:rPr lang="en-US" dirty="0"/>
              <a:t>CLICK TO EDIT TITLE</a:t>
            </a: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A66036-2A5E-C24C-9135-DEF835367D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BE90BAD-A882-6B4F-BD82-7AF52631EB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399097" y="2416927"/>
            <a:ext cx="4137661" cy="3591097"/>
          </a:xfrm>
          <a:solidFill>
            <a:schemeClr val="tx1"/>
          </a:solidFill>
        </p:spPr>
        <p:txBody>
          <a:bodyPr lIns="360000" tIns="360000" rIns="360000" bIns="360000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83542146-F420-6449-AFE1-3308E006AB3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07299" y="2416927"/>
            <a:ext cx="4137661" cy="3591097"/>
          </a:xfrm>
          <a:solidFill>
            <a:schemeClr val="tx1"/>
          </a:solidFill>
        </p:spPr>
        <p:txBody>
          <a:bodyPr lIns="360000" tIns="360000" rIns="360000" bIns="360000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50419EC2-9CF6-DF49-A9E8-4040A899C2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826109" y="2416927"/>
            <a:ext cx="4137661" cy="3591097"/>
          </a:xfrm>
          <a:solidFill>
            <a:schemeClr val="tx1"/>
          </a:solidFill>
        </p:spPr>
        <p:txBody>
          <a:bodyPr lIns="360000" tIns="360000" rIns="360000" bIns="360000"/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15F9424-AE72-0449-B91E-C8D1A90A7A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39396">
            <a:off x="12494403" y="6626964"/>
            <a:ext cx="1454109" cy="20589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B193347-35E2-D14C-B7D7-ADDCAC150A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568511">
            <a:off x="12061340" y="5973192"/>
            <a:ext cx="1454110" cy="205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59816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65955" y="1292352"/>
            <a:ext cx="4674558" cy="2097024"/>
          </a:xfrm>
        </p:spPr>
        <p:txBody>
          <a:bodyPr anchor="t" anchorCtr="0">
            <a:normAutofit/>
          </a:bodyPr>
          <a:lstStyle>
            <a:lvl1pPr>
              <a:defRPr sz="2880"/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</a:t>
            </a: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A66036-2A5E-C24C-9135-DEF835367D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AC15FA1-97EC-7845-9614-4B72E739FAB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584448" cy="248716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D217ADD-3F82-0446-A9F4-C25C77DA6A2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608832" y="0"/>
            <a:ext cx="3586448" cy="248716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AFADAD33-9B26-E14B-8CC8-33DAAA5197D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" y="2507800"/>
            <a:ext cx="3582573" cy="3291840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B0A6448C-0384-2F4D-B55C-135B1BF595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608832" y="2513425"/>
            <a:ext cx="3584448" cy="3283075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61622-CDDB-8C43-B45F-66AF04C751F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2992"/>
            <a:ext cx="3584448" cy="238660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8AE8FAB9-1ED3-234A-9B9C-8EDC31C0279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8832" y="5842992"/>
            <a:ext cx="3586448" cy="2386608"/>
          </a:xfrm>
          <a:solidFill>
            <a:schemeClr val="bg2"/>
          </a:solidFill>
          <a:ln w="25400">
            <a:solidFill>
              <a:srgbClr val="FFFFFF"/>
            </a:solidFill>
          </a:ln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nl-NL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D7F6401-EED8-E24A-85AC-82AB5145E5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526781" y="3765668"/>
            <a:ext cx="4740333" cy="3591097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D291ECF-CFDE-EB4F-BF46-053053558595}"/>
              </a:ext>
            </a:extLst>
          </p:cNvPr>
          <p:cNvCxnSpPr>
            <a:cxnSpLocks/>
          </p:cNvCxnSpPr>
          <p:nvPr userDrawn="1"/>
        </p:nvCxnSpPr>
        <p:spPr>
          <a:xfrm>
            <a:off x="7306887" y="0"/>
            <a:ext cx="2" cy="822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45708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A9476255-A8CE-664B-AE7A-B74631CE65EE}"/>
              </a:ext>
            </a:extLst>
          </p:cNvPr>
          <p:cNvSpPr/>
          <p:nvPr userDrawn="1"/>
        </p:nvSpPr>
        <p:spPr>
          <a:xfrm rot="5400000">
            <a:off x="-1257301" y="1257301"/>
            <a:ext cx="8229600" cy="5715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7811" y="1440180"/>
            <a:ext cx="4498571" cy="1834896"/>
          </a:xfrm>
        </p:spPr>
        <p:txBody>
          <a:bodyPr anchor="t" anchorCtr="0">
            <a:normAutofit/>
          </a:bodyPr>
          <a:lstStyle>
            <a:lvl1pPr>
              <a:defRPr sz="2880"/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</a:t>
            </a:r>
            <a:endParaRPr lang="nl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A66036-2A5E-C24C-9135-DEF835367D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0C326332-2C30-C74E-98F4-4D10BDE31AB9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6835141" y="1508761"/>
            <a:ext cx="6789421" cy="5897879"/>
          </a:xfrm>
        </p:spPr>
        <p:txBody>
          <a:bodyPr/>
          <a:lstStyle/>
          <a:p>
            <a:r>
              <a:rPr lang="fr-FR" dirty="0"/>
              <a:t>Cliquez sur l'icône pour ajouter un graphique</a:t>
            </a:r>
            <a:endParaRPr lang="nl-NL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5309A4A-97CA-5E42-92E7-DED51546A5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2660" y="3925688"/>
            <a:ext cx="4470862" cy="3491346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95A1974-9C94-9041-BD7E-42FEED32CC7D}"/>
              </a:ext>
            </a:extLst>
          </p:cNvPr>
          <p:cNvCxnSpPr>
            <a:cxnSpLocks/>
          </p:cNvCxnSpPr>
          <p:nvPr userDrawn="1"/>
        </p:nvCxnSpPr>
        <p:spPr>
          <a:xfrm>
            <a:off x="5875021" y="0"/>
            <a:ext cx="0" cy="82296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40426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7575AE4-84A7-8347-B54F-ED342FA4CDCE}"/>
              </a:ext>
            </a:extLst>
          </p:cNvPr>
          <p:cNvSpPr/>
          <p:nvPr userDrawn="1"/>
        </p:nvSpPr>
        <p:spPr>
          <a:xfrm>
            <a:off x="0" y="5097780"/>
            <a:ext cx="14630400" cy="3131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095D7EE-8F12-104A-A4B3-DB4ACFF4A1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96998" y="5477256"/>
            <a:ext cx="3340270" cy="2097024"/>
          </a:xfrm>
        </p:spPr>
        <p:txBody>
          <a:bodyPr anchor="t" anchorCtr="0">
            <a:normAutofit/>
          </a:bodyPr>
          <a:lstStyle>
            <a:lvl1pPr>
              <a:defRPr sz="288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</a:t>
            </a:r>
            <a:br>
              <a:rPr lang="en-US" dirty="0"/>
            </a:br>
            <a:r>
              <a:rPr lang="en-US" dirty="0"/>
              <a:t>EDIT TITLE</a:t>
            </a:r>
            <a:endParaRPr lang="nl-NL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BF6429A-E666-BA4D-8CB7-BDC590965B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24451" y="5496793"/>
            <a:ext cx="7708669" cy="2207029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15" name="Chart Placeholder 5">
            <a:extLst>
              <a:ext uri="{FF2B5EF4-FFF2-40B4-BE49-F238E27FC236}">
                <a16:creationId xmlns:a16="http://schemas.microsoft.com/office/drawing/2014/main" id="{4C16DACB-A445-9A47-9B21-F17DFF8B2607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868680" y="982982"/>
            <a:ext cx="3840480" cy="3122296"/>
          </a:xfrm>
        </p:spPr>
        <p:txBody>
          <a:bodyPr/>
          <a:lstStyle/>
          <a:p>
            <a:r>
              <a:rPr lang="fr-FR" dirty="0"/>
              <a:t>Cliquez sur l'icône pour ajouter un graphique</a:t>
            </a:r>
            <a:endParaRPr lang="nl-NL" dirty="0"/>
          </a:p>
        </p:txBody>
      </p:sp>
      <p:sp>
        <p:nvSpPr>
          <p:cNvPr id="19" name="Chart Placeholder 5">
            <a:extLst>
              <a:ext uri="{FF2B5EF4-FFF2-40B4-BE49-F238E27FC236}">
                <a16:creationId xmlns:a16="http://schemas.microsoft.com/office/drawing/2014/main" id="{4D51E73F-D450-5549-B9E3-EBF527BF723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5264230" y="982982"/>
            <a:ext cx="3840480" cy="3122296"/>
          </a:xfrm>
        </p:spPr>
        <p:txBody>
          <a:bodyPr/>
          <a:lstStyle/>
          <a:p>
            <a:r>
              <a:rPr lang="fr-FR" dirty="0"/>
              <a:t>Cliquez sur l'icône pour ajouter un graphique</a:t>
            </a:r>
            <a:endParaRPr lang="nl-NL" dirty="0"/>
          </a:p>
        </p:txBody>
      </p:sp>
      <p:sp>
        <p:nvSpPr>
          <p:cNvPr id="20" name="Chart Placeholder 5">
            <a:extLst>
              <a:ext uri="{FF2B5EF4-FFF2-40B4-BE49-F238E27FC236}">
                <a16:creationId xmlns:a16="http://schemas.microsoft.com/office/drawing/2014/main" id="{3CC396CF-4180-C849-A0A8-E1C09D2C7B78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9671120" y="982982"/>
            <a:ext cx="3840480" cy="3122296"/>
          </a:xfrm>
        </p:spPr>
        <p:txBody>
          <a:bodyPr/>
          <a:lstStyle/>
          <a:p>
            <a:r>
              <a:rPr lang="fr-FR" dirty="0"/>
              <a:t>Cliquez sur l'icône pour ajouter un graphique</a:t>
            </a:r>
            <a:endParaRPr lang="nl-NL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48EEB5-7107-BD42-8C28-1217048015EE}"/>
              </a:ext>
            </a:extLst>
          </p:cNvPr>
          <p:cNvCxnSpPr>
            <a:cxnSpLocks/>
          </p:cNvCxnSpPr>
          <p:nvPr userDrawn="1"/>
        </p:nvCxnSpPr>
        <p:spPr>
          <a:xfrm>
            <a:off x="0" y="4983480"/>
            <a:ext cx="14630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2988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E4A25E4-9A2A-3544-848F-B969E9F53C72}"/>
              </a:ext>
            </a:extLst>
          </p:cNvPr>
          <p:cNvSpPr/>
          <p:nvPr userDrawn="1"/>
        </p:nvSpPr>
        <p:spPr>
          <a:xfrm>
            <a:off x="-71120" y="-81279"/>
            <a:ext cx="14701520" cy="8310880"/>
          </a:xfrm>
          <a:prstGeom prst="rect">
            <a:avLst/>
          </a:prstGeom>
          <a:solidFill>
            <a:schemeClr val="bg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1484" y="5577053"/>
            <a:ext cx="7057506" cy="200637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thank you notes</a:t>
            </a:r>
            <a:endParaRPr lang="nl-NL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6092" y="3617210"/>
            <a:ext cx="6936683" cy="1498604"/>
          </a:xfrm>
        </p:spPr>
        <p:txBody>
          <a:bodyPr>
            <a:normAutofit/>
          </a:bodyPr>
          <a:lstStyle>
            <a:lvl1pPr algn="ctr">
              <a:defRPr sz="5940" b="1" u="none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THANK  YOU</a:t>
            </a:r>
            <a:endParaRPr lang="nl-NL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52071" y="334840"/>
            <a:ext cx="5815453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458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E4D1CF-FE72-41B2-B012-1A08F2620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746" y="438152"/>
            <a:ext cx="12618720" cy="15906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18FC86-5428-4A93-A1F0-2875DF1E93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7747" y="2017396"/>
            <a:ext cx="6189344" cy="988694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994AB85-98BE-49AD-B234-D32C3695B3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07747" y="3006090"/>
            <a:ext cx="6189344" cy="44215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35D114-ED7A-43BF-9043-FC8EEB618B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406641" y="2017396"/>
            <a:ext cx="6219826" cy="988694"/>
          </a:xfrm>
        </p:spPr>
        <p:txBody>
          <a:bodyPr anchor="b"/>
          <a:lstStyle>
            <a:lvl1pPr marL="0" indent="0">
              <a:buNone/>
              <a:defRPr sz="2160" b="1"/>
            </a:lvl1pPr>
            <a:lvl2pPr marL="411480" indent="0">
              <a:buNone/>
              <a:defRPr sz="1800" b="1"/>
            </a:lvl2pPr>
            <a:lvl3pPr marL="822960" indent="0">
              <a:buNone/>
              <a:defRPr sz="1620" b="1"/>
            </a:lvl3pPr>
            <a:lvl4pPr marL="1234440" indent="0">
              <a:buNone/>
              <a:defRPr sz="1440" b="1"/>
            </a:lvl4pPr>
            <a:lvl5pPr marL="1645920" indent="0">
              <a:buNone/>
              <a:defRPr sz="1440" b="1"/>
            </a:lvl5pPr>
            <a:lvl6pPr marL="2057400" indent="0">
              <a:buNone/>
              <a:defRPr sz="1440" b="1"/>
            </a:lvl6pPr>
            <a:lvl7pPr marL="2468880" indent="0">
              <a:buNone/>
              <a:defRPr sz="1440" b="1"/>
            </a:lvl7pPr>
            <a:lvl8pPr marL="2880360" indent="0">
              <a:buNone/>
              <a:defRPr sz="1440" b="1"/>
            </a:lvl8pPr>
            <a:lvl9pPr marL="3291840" indent="0">
              <a:buNone/>
              <a:defRPr sz="14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3780D5C-1FA8-434D-A068-4B0DFCFA36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7406641" y="3006090"/>
            <a:ext cx="6219826" cy="44215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456EF1B-D997-421F-B1E9-E175F50393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73EBAB-3B6A-46C9-9DC9-AA9498436B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22423A-5A7B-4E5D-B51B-732E590BA2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3536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E4A25E4-9A2A-3544-848F-B969E9F53C72}"/>
              </a:ext>
            </a:extLst>
          </p:cNvPr>
          <p:cNvSpPr/>
          <p:nvPr userDrawn="1"/>
        </p:nvSpPr>
        <p:spPr>
          <a:xfrm>
            <a:off x="-352071" y="-190194"/>
            <a:ext cx="15114146" cy="84197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71484" y="5577053"/>
            <a:ext cx="7057506" cy="200637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thank you notes</a:t>
            </a:r>
            <a:endParaRPr lang="nl-NL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326092" y="3617210"/>
            <a:ext cx="6936683" cy="1498604"/>
          </a:xfrm>
        </p:spPr>
        <p:txBody>
          <a:bodyPr>
            <a:normAutofit/>
          </a:bodyPr>
          <a:lstStyle>
            <a:lvl1pPr algn="ctr">
              <a:defRPr sz="5940" b="1" u="none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dirty="0"/>
              <a:t>THANK  YOU</a:t>
            </a:r>
            <a:endParaRPr lang="nl-NL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52071" y="334840"/>
            <a:ext cx="5815453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505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1E4A25E4-9A2A-3544-848F-B969E9F53C72}"/>
              </a:ext>
            </a:extLst>
          </p:cNvPr>
          <p:cNvSpPr/>
          <p:nvPr userDrawn="1"/>
        </p:nvSpPr>
        <p:spPr>
          <a:xfrm>
            <a:off x="-71120" y="-81279"/>
            <a:ext cx="14701520" cy="8310880"/>
          </a:xfrm>
          <a:prstGeom prst="rect">
            <a:avLst/>
          </a:prstGeom>
          <a:solidFill>
            <a:schemeClr val="accent1">
              <a:alpha val="76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20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B167791C-76AD-0F4A-87E7-ED053F78E8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66162" y="4339243"/>
            <a:ext cx="7057506" cy="200637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 notes</a:t>
            </a:r>
            <a:endParaRPr lang="nl-NL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478214AC-7AF1-C340-9ECB-193BB9C03FF6}"/>
              </a:ext>
            </a:extLst>
          </p:cNvPr>
          <p:cNvCxnSpPr>
            <a:cxnSpLocks/>
          </p:cNvCxnSpPr>
          <p:nvPr userDrawn="1"/>
        </p:nvCxnSpPr>
        <p:spPr>
          <a:xfrm flipH="1">
            <a:off x="6604003" y="3878004"/>
            <a:ext cx="1196234" cy="0"/>
          </a:xfrm>
          <a:prstGeom prst="line">
            <a:avLst/>
          </a:prstGeom>
          <a:ln w="762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B7D874B-8812-9D47-BE41-CE97C6C5BC7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20771" y="2379400"/>
            <a:ext cx="6936683" cy="1498604"/>
          </a:xfrm>
        </p:spPr>
        <p:txBody>
          <a:bodyPr>
            <a:normAutofit/>
          </a:bodyPr>
          <a:lstStyle>
            <a:lvl1pPr algn="ctr">
              <a:defRPr sz="594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ANK  YOU</a:t>
            </a:r>
            <a:endParaRPr lang="nl-NL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62838122-B9F7-9E47-80AE-5C8AD846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44690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47">
          <p15:clr>
            <a:srgbClr val="FBAE40"/>
          </p15:clr>
        </p15:guide>
        <p15:guide id="2" pos="5110">
          <p15:clr>
            <a:srgbClr val="FBAE40"/>
          </p15:clr>
        </p15:guide>
        <p15:guide id="3" orient="horz" pos="1434">
          <p15:clr>
            <a:srgbClr val="FBAE40"/>
          </p15:clr>
        </p15:guide>
        <p15:guide id="4" orient="horz" pos="2863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597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logo_rojo_positiv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29399" y="601686"/>
            <a:ext cx="3184677" cy="931765"/>
          </a:xfrm>
          <a:prstGeom prst="rect">
            <a:avLst/>
          </a:prstGeom>
        </p:spPr>
      </p:pic>
      <p:sp>
        <p:nvSpPr>
          <p:cNvPr id="14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46004" y="416065"/>
            <a:ext cx="4592037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Presentation</a:t>
            </a:r>
            <a:endParaRPr lang="es-ES" dirty="0"/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45160" y="1101090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endParaRPr lang="es-ES" dirty="0"/>
          </a:p>
        </p:txBody>
      </p:sp>
      <p:sp>
        <p:nvSpPr>
          <p:cNvPr id="18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646003" y="7354241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Date</a:t>
            </a:r>
          </a:p>
        </p:txBody>
      </p:sp>
      <p:sp>
        <p:nvSpPr>
          <p:cNvPr id="9" name="Rectángulo 8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Lippincot Ribbon is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Company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  <p:pic>
        <p:nvPicPr>
          <p:cNvPr id="10" name="Imagen 9" descr="Lippincot_rojo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05960"/>
            <a:ext cx="14630400" cy="283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6940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/>
          <p:cNvSpPr/>
          <p:nvPr userDrawn="1"/>
        </p:nvSpPr>
        <p:spPr>
          <a:xfrm>
            <a:off x="1" y="0"/>
            <a:ext cx="14652210" cy="8229600"/>
          </a:xfrm>
          <a:prstGeom prst="rect">
            <a:avLst/>
          </a:prstGeom>
          <a:solidFill>
            <a:srgbClr val="EE000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white"/>
              </a:solidFill>
            </a:endParaRPr>
          </a:p>
        </p:txBody>
      </p:sp>
      <p:sp>
        <p:nvSpPr>
          <p:cNvPr id="10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46004" y="416065"/>
            <a:ext cx="4592037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Presentation</a:t>
            </a:r>
            <a:endParaRPr lang="es-ES" dirty="0"/>
          </a:p>
        </p:txBody>
      </p:sp>
      <p:sp>
        <p:nvSpPr>
          <p:cNvPr id="11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45160" y="1101090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endParaRPr lang="es-ES" dirty="0"/>
          </a:p>
        </p:txBody>
      </p:sp>
      <p:sp>
        <p:nvSpPr>
          <p:cNvPr id="12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646003" y="7354241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Date</a:t>
            </a:r>
          </a:p>
        </p:txBody>
      </p:sp>
      <p:pic>
        <p:nvPicPr>
          <p:cNvPr id="14" name="Imagen 13" descr="logo_bl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7290" y="612986"/>
            <a:ext cx="3026786" cy="890657"/>
          </a:xfrm>
          <a:prstGeom prst="rect">
            <a:avLst/>
          </a:prstGeom>
        </p:spPr>
      </p:pic>
      <p:pic>
        <p:nvPicPr>
          <p:cNvPr id="18" name="Imagen 17" descr="foto1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814" y="1550866"/>
            <a:ext cx="14761792" cy="9943708"/>
          </a:xfrm>
          <a:prstGeom prst="rect">
            <a:avLst/>
          </a:prstGeom>
        </p:spPr>
      </p:pic>
      <p:sp>
        <p:nvSpPr>
          <p:cNvPr id="17" name="Rectángulo 16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Lippincot Ribbon is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  <p:pic>
        <p:nvPicPr>
          <p:cNvPr id="4" name="Imagen 3" descr="Lippincot_blanco2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6814" y="1514978"/>
            <a:ext cx="14745600" cy="285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8602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3843" y="274300"/>
            <a:ext cx="2286795" cy="669065"/>
          </a:xfrm>
          <a:prstGeom prst="rect">
            <a:avLst/>
          </a:prstGeom>
        </p:spPr>
      </p:pic>
      <p:sp>
        <p:nvSpPr>
          <p:cNvPr id="8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741" y="261177"/>
            <a:ext cx="10137139" cy="103441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es-ES" sz="2880" b="1" kern="1200" dirty="0">
                <a:solidFill>
                  <a:srgbClr val="EC2024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28" name="Marcador de posición de imagen 25"/>
          <p:cNvSpPr>
            <a:spLocks noGrp="1"/>
          </p:cNvSpPr>
          <p:nvPr>
            <p:ph type="pic" sz="quarter" idx="13" hasCustomPrompt="1"/>
          </p:nvPr>
        </p:nvSpPr>
        <p:spPr>
          <a:xfrm>
            <a:off x="8575040" y="1455421"/>
            <a:ext cx="5039360" cy="262509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42" name="Marcador de contenido 41"/>
          <p:cNvSpPr>
            <a:spLocks noGrp="1"/>
          </p:cNvSpPr>
          <p:nvPr>
            <p:ph sz="quarter" idx="16" hasCustomPrompt="1"/>
          </p:nvPr>
        </p:nvSpPr>
        <p:spPr>
          <a:xfrm>
            <a:off x="713742" y="1455420"/>
            <a:ext cx="6578600" cy="8896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 b="1" baseline="0">
                <a:latin typeface="Arial"/>
                <a:cs typeface="Arial"/>
              </a:defRPr>
            </a:lvl1pPr>
          </a:lstStyle>
          <a:p>
            <a:pPr marL="0" marR="0" lvl="0" indent="0" algn="l" defTabSz="5486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s-ES" dirty="0" err="1"/>
              <a:t>Highlite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44" name="Marcador de contenido 43"/>
          <p:cNvSpPr>
            <a:spLocks noGrp="1"/>
          </p:cNvSpPr>
          <p:nvPr>
            <p:ph sz="quarter" idx="17" hasCustomPrompt="1"/>
          </p:nvPr>
        </p:nvSpPr>
        <p:spPr>
          <a:xfrm>
            <a:off x="713742" y="2489836"/>
            <a:ext cx="6578600" cy="52240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Copy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45" name="Marcador de contenido 43"/>
          <p:cNvSpPr>
            <a:spLocks noGrp="1"/>
          </p:cNvSpPr>
          <p:nvPr>
            <p:ph sz="quarter" idx="18" hasCustomPrompt="1"/>
          </p:nvPr>
        </p:nvSpPr>
        <p:spPr>
          <a:xfrm>
            <a:off x="8575041" y="4242437"/>
            <a:ext cx="5521960" cy="8375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Copy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46" name="Marcador de contenido 43"/>
          <p:cNvSpPr>
            <a:spLocks noGrp="1"/>
          </p:cNvSpPr>
          <p:nvPr>
            <p:ph sz="quarter" idx="19" hasCustomPrompt="1"/>
          </p:nvPr>
        </p:nvSpPr>
        <p:spPr>
          <a:xfrm>
            <a:off x="9155291" y="5241503"/>
            <a:ext cx="4941710" cy="1870498"/>
          </a:xfrm>
          <a:prstGeom prst="rect">
            <a:avLst/>
          </a:prstGeom>
        </p:spPr>
        <p:txBody>
          <a:bodyPr vert="horz"/>
          <a:lstStyle>
            <a:lvl1pPr marL="205740" indent="-205740">
              <a:buFont typeface="Arial"/>
              <a:buChar char="•"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Bullets</a:t>
            </a:r>
            <a:endParaRPr lang="es-ES" dirty="0"/>
          </a:p>
          <a:p>
            <a:pPr lvl="0"/>
            <a:r>
              <a:rPr lang="es-ES" dirty="0" err="1"/>
              <a:t>Bullets</a:t>
            </a:r>
            <a:endParaRPr lang="es-ES" dirty="0"/>
          </a:p>
          <a:p>
            <a:pPr lvl="0"/>
            <a:r>
              <a:rPr lang="es-ES" dirty="0" err="1"/>
              <a:t>Buellets</a:t>
            </a:r>
            <a:endParaRPr lang="es-ES" dirty="0"/>
          </a:p>
        </p:txBody>
      </p:sp>
      <p:sp>
        <p:nvSpPr>
          <p:cNvPr id="11" name="Rectángulo 10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Lippincot Ribbon is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15349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3843" y="274300"/>
            <a:ext cx="2286795" cy="669065"/>
          </a:xfrm>
          <a:prstGeom prst="rect">
            <a:avLst/>
          </a:prstGeom>
        </p:spPr>
      </p:pic>
      <p:sp>
        <p:nvSpPr>
          <p:cNvPr id="8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741" y="261177"/>
            <a:ext cx="9893299" cy="103441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es-ES" sz="2880" b="1" kern="1200" dirty="0">
                <a:solidFill>
                  <a:srgbClr val="EC2024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133997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 userDrawn="1"/>
        </p:nvSpPr>
        <p:spPr>
          <a:xfrm>
            <a:off x="0" y="-5896"/>
            <a:ext cx="14630400" cy="123096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white"/>
              </a:solidFill>
            </a:endParaRPr>
          </a:p>
        </p:txBody>
      </p:sp>
      <p:sp>
        <p:nvSpPr>
          <p:cNvPr id="9" name="Marcador de contenido 43"/>
          <p:cNvSpPr>
            <a:spLocks noGrp="1"/>
          </p:cNvSpPr>
          <p:nvPr>
            <p:ph sz="quarter" idx="17" hasCustomPrompt="1"/>
          </p:nvPr>
        </p:nvSpPr>
        <p:spPr>
          <a:xfrm>
            <a:off x="713742" y="2489836"/>
            <a:ext cx="12968392" cy="508783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Copy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5" name="Marcador de contenido 41"/>
          <p:cNvSpPr>
            <a:spLocks noGrp="1"/>
          </p:cNvSpPr>
          <p:nvPr>
            <p:ph sz="quarter" idx="16" hasCustomPrompt="1"/>
          </p:nvPr>
        </p:nvSpPr>
        <p:spPr>
          <a:xfrm>
            <a:off x="713742" y="1455420"/>
            <a:ext cx="12968392" cy="8896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 b="1" baseline="0">
                <a:latin typeface="Arial"/>
                <a:cs typeface="Arial"/>
              </a:defRPr>
            </a:lvl1pPr>
          </a:lstStyle>
          <a:p>
            <a:pPr marL="0" marR="0" lvl="0" indent="0" algn="l" defTabSz="5486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s-ES" dirty="0" err="1"/>
              <a:t>Highlite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6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741" y="261177"/>
            <a:ext cx="9893299" cy="8265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  <p:pic>
        <p:nvPicPr>
          <p:cNvPr id="11" name="Imagen 10" descr="logo_bl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71112" y="316651"/>
            <a:ext cx="2304298" cy="678059"/>
          </a:xfrm>
          <a:prstGeom prst="rect">
            <a:avLst/>
          </a:prstGeom>
        </p:spPr>
      </p:pic>
      <p:sp>
        <p:nvSpPr>
          <p:cNvPr id="12" name="Rectángulo 11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Lippincot Ribbon is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60712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33346" y="-33332"/>
            <a:ext cx="14650720" cy="8262932"/>
          </a:xfrm>
          <a:prstGeom prst="rect">
            <a:avLst/>
          </a:prstGeom>
          <a:solidFill>
            <a:srgbClr val="EE000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white"/>
              </a:solidFill>
            </a:endParaRPr>
          </a:p>
        </p:txBody>
      </p:sp>
      <p:sp>
        <p:nvSpPr>
          <p:cNvPr id="13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587011" y="723530"/>
            <a:ext cx="10141949" cy="62053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32170" y="2010738"/>
            <a:ext cx="5925821" cy="2691766"/>
          </a:xfrm>
          <a:prstGeom prst="rect">
            <a:avLst/>
          </a:prstGeom>
        </p:spPr>
        <p:txBody>
          <a:bodyPr vert="horz"/>
          <a:lstStyle>
            <a:lvl1pPr marL="411480" indent="-411480">
              <a:buFont typeface="+mj-lt"/>
              <a:buAutoNum type="arabicPeriod"/>
              <a:defRPr sz="156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 marL="1165860" indent="-617220">
              <a:buFont typeface="+mj-lt"/>
              <a:buAutoNum type="romanLcPeriod"/>
              <a:defRPr sz="1560">
                <a:solidFill>
                  <a:srgbClr val="FFFFFF"/>
                </a:solidFill>
                <a:latin typeface="Arial"/>
                <a:cs typeface="Arial"/>
              </a:defRPr>
            </a:lvl2pPr>
          </a:lstStyle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1"/>
            <a:r>
              <a:rPr lang="es-ES" dirty="0" err="1"/>
              <a:t>Sub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1"/>
            <a:r>
              <a:rPr lang="es-ES" dirty="0" err="1"/>
              <a:t>Sub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1"/>
            <a:r>
              <a:rPr lang="es-ES" dirty="0" err="1"/>
              <a:t>Sub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pic>
        <p:nvPicPr>
          <p:cNvPr id="12" name="Imagen 11" descr="logo_bl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22667" y="469051"/>
            <a:ext cx="2304298" cy="678059"/>
          </a:xfrm>
          <a:prstGeom prst="rect">
            <a:avLst/>
          </a:prstGeom>
        </p:spPr>
      </p:pic>
      <p:sp>
        <p:nvSpPr>
          <p:cNvPr id="9" name="Rectángulo 8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““Coca-Cola” is a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prstClr val="white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5963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 userDrawn="1"/>
        </p:nvSpPr>
        <p:spPr>
          <a:xfrm>
            <a:off x="-33346" y="-33332"/>
            <a:ext cx="14650720" cy="8262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black"/>
              </a:solidFill>
            </a:endParaRPr>
          </a:p>
        </p:txBody>
      </p:sp>
      <p:pic>
        <p:nvPicPr>
          <p:cNvPr id="11" name="Imagen 10" descr="logo_negro_negativo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23" t="23809" r="10213" b="23616"/>
          <a:stretch/>
        </p:blipFill>
        <p:spPr>
          <a:xfrm>
            <a:off x="11804586" y="432704"/>
            <a:ext cx="2713853" cy="1049873"/>
          </a:xfrm>
          <a:prstGeom prst="rect">
            <a:avLst/>
          </a:prstGeom>
        </p:spPr>
      </p:pic>
      <p:sp>
        <p:nvSpPr>
          <p:cNvPr id="13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34720" y="1634272"/>
            <a:ext cx="10094240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Sec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24840" y="212289"/>
            <a:ext cx="2140938" cy="127783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01</a:t>
            </a:r>
          </a:p>
        </p:txBody>
      </p:sp>
      <p:pic>
        <p:nvPicPr>
          <p:cNvPr id="3" name="Imagen 2" descr="foto2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968" y="2819160"/>
            <a:ext cx="14745600" cy="9932800"/>
          </a:xfrm>
          <a:prstGeom prst="rect">
            <a:avLst/>
          </a:prstGeom>
        </p:spPr>
      </p:pic>
      <p:sp>
        <p:nvSpPr>
          <p:cNvPr id="10" name="Rectángulo 9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““Coca-Cola” and Lippincot Ribbon is a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FFFFF"/>
              </a:solidFill>
              <a:ea typeface="ＭＳ Ｐゴシック" charset="0"/>
            </a:endParaRPr>
          </a:p>
        </p:txBody>
      </p:sp>
      <p:pic>
        <p:nvPicPr>
          <p:cNvPr id="8" name="Imagen 7" descr="Lippincot_blanco2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238" y="2781413"/>
            <a:ext cx="14745600" cy="285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548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39F9A-FE02-4663-8871-35A8FC20EA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3691D4-ADBE-422D-B8D0-1EA871761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9FAAF4-A637-4973-8F96-5AAFC4A419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55F338-3D41-4F29-8B15-0F47ACFB1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0713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 userDrawn="1"/>
        </p:nvSpPr>
        <p:spPr>
          <a:xfrm>
            <a:off x="-20320" y="-33332"/>
            <a:ext cx="14650720" cy="8262932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black"/>
              </a:solidFill>
            </a:endParaRPr>
          </a:p>
        </p:txBody>
      </p:sp>
      <p:sp>
        <p:nvSpPr>
          <p:cNvPr id="8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34721" y="1634272"/>
            <a:ext cx="4592037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Subsec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9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24839" y="212289"/>
            <a:ext cx="4161650" cy="127783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01.1</a:t>
            </a:r>
          </a:p>
        </p:txBody>
      </p:sp>
      <p:pic>
        <p:nvPicPr>
          <p:cNvPr id="13" name="Imagen 12" descr="logo_blanc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2350" y="553723"/>
            <a:ext cx="2304298" cy="678059"/>
          </a:xfrm>
          <a:prstGeom prst="rect">
            <a:avLst/>
          </a:prstGeom>
        </p:spPr>
      </p:pic>
      <p:sp>
        <p:nvSpPr>
          <p:cNvPr id="11" name="Rectángulo 10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““Coca-Cola” and Lippincot Ribbon is a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prstClr val="white"/>
              </a:solidFill>
              <a:ea typeface="ＭＳ Ｐゴシック" charset="0"/>
            </a:endParaRPr>
          </a:p>
        </p:txBody>
      </p:sp>
      <p:pic>
        <p:nvPicPr>
          <p:cNvPr id="14" name="Imagen 13" descr="Lippincot_blanco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28217"/>
            <a:ext cx="14630400" cy="283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2317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 userDrawn="1"/>
        </p:nvSpPr>
        <p:spPr>
          <a:xfrm>
            <a:off x="-20320" y="-33332"/>
            <a:ext cx="14650720" cy="826293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black"/>
              </a:solidFill>
            </a:endParaRPr>
          </a:p>
        </p:txBody>
      </p:sp>
      <p:sp>
        <p:nvSpPr>
          <p:cNvPr id="6" name="CuadroTexto 5"/>
          <p:cNvSpPr txBox="1"/>
          <p:nvPr userDrawn="1"/>
        </p:nvSpPr>
        <p:spPr>
          <a:xfrm>
            <a:off x="5400965" y="3724953"/>
            <a:ext cx="422451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ES_tradnl" sz="3240" b="1" dirty="0" err="1">
                <a:solidFill>
                  <a:srgbClr val="F40009"/>
                </a:solidFill>
                <a:ea typeface="ＭＳ Ｐゴシック" charset="0"/>
              </a:rPr>
              <a:t>Thank</a:t>
            </a:r>
            <a:r>
              <a:rPr lang="es-ES_tradnl" sz="3240" b="1" dirty="0">
                <a:solidFill>
                  <a:srgbClr val="F40009"/>
                </a:solidFill>
                <a:ea typeface="ＭＳ Ｐゴシック" charset="0"/>
              </a:rPr>
              <a:t> </a:t>
            </a:r>
            <a:r>
              <a:rPr lang="es-ES_tradnl" sz="3240" b="1" dirty="0" err="1">
                <a:solidFill>
                  <a:srgbClr val="F40009"/>
                </a:solidFill>
                <a:ea typeface="ＭＳ Ｐゴシック" charset="0"/>
              </a:rPr>
              <a:t>you</a:t>
            </a:r>
            <a:r>
              <a:rPr lang="es-ES_tradnl" sz="3240" b="1" dirty="0">
                <a:solidFill>
                  <a:srgbClr val="F40009"/>
                </a:solidFill>
                <a:ea typeface="ＭＳ Ｐゴシック" charset="0"/>
              </a:rPr>
              <a:t>!</a:t>
            </a:r>
          </a:p>
        </p:txBody>
      </p:sp>
      <p:pic>
        <p:nvPicPr>
          <p:cNvPr id="9" name="Imagen 8" descr="logo_rojo_positiv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5386" y="6975076"/>
            <a:ext cx="3219592" cy="941981"/>
          </a:xfrm>
          <a:prstGeom prst="rect">
            <a:avLst/>
          </a:prstGeom>
        </p:spPr>
      </p:pic>
      <p:sp>
        <p:nvSpPr>
          <p:cNvPr id="7" name="Rectángulo 6"/>
          <p:cNvSpPr/>
          <p:nvPr userDrawn="1"/>
        </p:nvSpPr>
        <p:spPr>
          <a:xfrm>
            <a:off x="624838" y="7956905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““Coca-Cola” is a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prstClr val="white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3725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595" y="326976"/>
            <a:ext cx="13434475" cy="64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lang="en-US" sz="3120" b="1" dirty="0">
                <a:solidFill>
                  <a:schemeClr val="accent6"/>
                </a:solidFill>
                <a:latin typeface="Avenir LT Std 85 Heavy"/>
                <a:ea typeface="Avenir LT Std 85 Heavy"/>
                <a:cs typeface="+mj-cs"/>
              </a:defRPr>
            </a:lvl1pPr>
          </a:lstStyle>
          <a:p>
            <a:pPr lvl="0" algn="l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7595" y="1260765"/>
            <a:ext cx="13594190" cy="2101473"/>
          </a:xfrm>
          <a:prstGeom prst="rect">
            <a:avLst/>
          </a:prstGeom>
        </p:spPr>
        <p:txBody>
          <a:bodyPr wrap="square" numCol="2" spcCol="274320">
            <a:spAutoFit/>
          </a:bodyPr>
          <a:lstStyle>
            <a:lvl1pPr marL="323850" indent="-323850">
              <a:tabLst/>
              <a:defRPr/>
            </a:lvl1pPr>
            <a:lvl2pPr marL="649606" indent="-325756">
              <a:defRPr/>
            </a:lvl2pPr>
            <a:lvl3pPr marL="862966" indent="-325756">
              <a:defRPr/>
            </a:lvl3pPr>
          </a:lstStyle>
          <a:p>
            <a:pPr lvl="0"/>
            <a:r>
              <a:rPr lang="en-US" dirty="0" err="1"/>
              <a:t>Avenir</a:t>
            </a:r>
            <a:r>
              <a:rPr lang="en-US" dirty="0"/>
              <a:t> LT Std 55 Roman 16pt text with 1 paragraph spacing</a:t>
            </a:r>
          </a:p>
          <a:p>
            <a:pPr lvl="1"/>
            <a:r>
              <a:rPr lang="en-US" dirty="0" err="1"/>
              <a:t>Avenir</a:t>
            </a:r>
            <a:r>
              <a:rPr lang="en-US" dirty="0"/>
              <a:t> LT </a:t>
            </a:r>
            <a:r>
              <a:rPr lang="en-US" dirty="0" err="1"/>
              <a:t>Std</a:t>
            </a:r>
            <a:r>
              <a:rPr lang="en-US" dirty="0"/>
              <a:t> 45 Book 14pt text with 1 paragraph spacing</a:t>
            </a:r>
          </a:p>
          <a:p>
            <a:pPr lvl="2"/>
            <a:r>
              <a:rPr lang="en-US" dirty="0" err="1"/>
              <a:t>Avenir</a:t>
            </a:r>
            <a:r>
              <a:rPr lang="en-US" dirty="0"/>
              <a:t> LT </a:t>
            </a:r>
            <a:r>
              <a:rPr lang="en-US" dirty="0" err="1"/>
              <a:t>Std</a:t>
            </a:r>
            <a:r>
              <a:rPr lang="en-US" dirty="0"/>
              <a:t> 35 Light 12pt text with 1 paragraph spac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4440" y="7635240"/>
            <a:ext cx="10460736" cy="33199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60" b="0" i="0">
                <a:solidFill>
                  <a:srgbClr val="BABBBE"/>
                </a:solidFill>
                <a:latin typeface="Avenir LT Std 55 Oblique"/>
                <a:cs typeface="Avenir LT Std 55 Oblique"/>
              </a:defRPr>
            </a:lvl1pPr>
            <a:lvl2pPr marL="54864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2pPr>
            <a:lvl3pPr marL="109728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3pPr>
            <a:lvl4pPr marL="164592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4pPr>
            <a:lvl5pPr marL="2194560" indent="0">
              <a:buFontTx/>
              <a:buNone/>
              <a:defRPr sz="1260" b="0" i="0">
                <a:latin typeface="Avenir LT Std 55 Oblique"/>
                <a:cs typeface="Avenir LT Std 55 Oblique"/>
              </a:defRPr>
            </a:lvl5pPr>
          </a:lstStyle>
          <a:p>
            <a:pPr lvl="0"/>
            <a:r>
              <a:rPr lang="en-US" dirty="0"/>
              <a:t>Notes will go here.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91054" y="263849"/>
            <a:ext cx="1168920" cy="65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86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29566"/>
            <a:ext cx="13167360" cy="1371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920245"/>
            <a:ext cx="13167360" cy="54311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520" y="7627635"/>
            <a:ext cx="3413760" cy="438150"/>
          </a:xfrm>
          <a:prstGeom prst="rect">
            <a:avLst/>
          </a:prstGeom>
        </p:spPr>
        <p:txBody>
          <a:bodyPr/>
          <a:lstStyle/>
          <a:p>
            <a:fld id="{AA741776-2651-4ADB-9FEA-9A82EB4CD10E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998720" y="7627635"/>
            <a:ext cx="4632960" cy="438150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85120" y="7627635"/>
            <a:ext cx="3413760" cy="438150"/>
          </a:xfrm>
          <a:prstGeom prst="rect">
            <a:avLst/>
          </a:prstGeom>
        </p:spPr>
        <p:txBody>
          <a:bodyPr/>
          <a:lstStyle/>
          <a:p>
            <a:fld id="{AA4DA77F-1774-429A-87F4-AE617232B10D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426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0" y="3824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ctr"/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57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659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pic>
        <p:nvPicPr>
          <p:cNvPr id="8" name="Imagen 11" descr="ribbon_ok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85291"/>
            <a:ext cx="14630400" cy="2831957"/>
          </a:xfrm>
          <a:prstGeom prst="rect">
            <a:avLst/>
          </a:prstGeom>
        </p:spPr>
      </p:pic>
      <p:pic>
        <p:nvPicPr>
          <p:cNvPr id="10" name="Imagen 20" descr="logo_rojo_positivo.jp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843" y="274300"/>
            <a:ext cx="2286795" cy="669065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31521" y="1436371"/>
            <a:ext cx="10500360" cy="862964"/>
          </a:xfrm>
        </p:spPr>
        <p:txBody>
          <a:bodyPr>
            <a:normAutofit/>
          </a:bodyPr>
          <a:lstStyle>
            <a:lvl1pPr marL="0" indent="0">
              <a:buNone/>
              <a:defRPr sz="1920" b="1">
                <a:solidFill>
                  <a:srgbClr val="F40009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10347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843" y="274300"/>
            <a:ext cx="2286795" cy="669065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31520" y="1436370"/>
            <a:ext cx="13167360" cy="61341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731521" y="139067"/>
            <a:ext cx="10500360" cy="95059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5"/>
          </p:nvPr>
        </p:nvSpPr>
        <p:spPr>
          <a:xfrm>
            <a:off x="731520" y="7570471"/>
            <a:ext cx="12507270" cy="476250"/>
          </a:xfrm>
        </p:spPr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4895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footer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843" y="274300"/>
            <a:ext cx="2286795" cy="66906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8492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9327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0" y="1436370"/>
            <a:ext cx="13167360" cy="862966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edit graph title (i.e. describe metrics shown) &amp;                                      Specify period for which data is shown</a:t>
            </a:r>
          </a:p>
        </p:txBody>
      </p:sp>
      <p:pic>
        <p:nvPicPr>
          <p:cNvPr id="8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 (i.e. key point evidenced by graph)</a:t>
            </a:r>
            <a:endParaRPr lang="en-GB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5309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5DD4AE0-3139-4F4B-A728-4C308B7D4B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B52735-B492-43E8-94D0-1748596557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76653C-3A91-44D1-956D-AEED2D2CAE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7224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1" y="1436371"/>
            <a:ext cx="6469381" cy="862966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edit graph title (metrics) &amp; Specify period covered by data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429503" y="1436371"/>
            <a:ext cx="6469379" cy="862966"/>
          </a:xfr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lick to edit graph title (metrics) &amp;  Specify period covered by data</a:t>
            </a:r>
          </a:p>
        </p:txBody>
      </p:sp>
      <p:pic>
        <p:nvPicPr>
          <p:cNvPr id="15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 (i.e. key point evidenced by graphs)</a:t>
            </a:r>
            <a:endParaRPr lang="en-GB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918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27711" y="1436369"/>
            <a:ext cx="13171170" cy="86296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8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7" name="Text Placehold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27711" y="2299336"/>
            <a:ext cx="13171170" cy="527113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slide titl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341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1" y="1436371"/>
            <a:ext cx="6469381" cy="86296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429503" y="1436371"/>
            <a:ext cx="6469379" cy="86084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5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6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731521" y="2303145"/>
            <a:ext cx="6469381" cy="5267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7429503" y="2297431"/>
            <a:ext cx="6469379" cy="52730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 in bullet point lis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293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0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519" y="2299337"/>
            <a:ext cx="4234182" cy="5273040"/>
          </a:xfrm>
        </p:spPr>
        <p:txBody>
          <a:bodyPr>
            <a:normAutofit/>
          </a:bodyPr>
          <a:lstStyle>
            <a:lvl1pPr marL="213360" indent="-213360">
              <a:defRPr sz="1440" baseline="0"/>
            </a:lvl1pPr>
            <a:lvl2pPr marL="428626" indent="-213360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19" y="1436371"/>
            <a:ext cx="4234182" cy="85803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5194303" y="2299336"/>
            <a:ext cx="4231638" cy="5273040"/>
          </a:xfrm>
        </p:spPr>
        <p:txBody>
          <a:bodyPr>
            <a:normAutofit/>
          </a:bodyPr>
          <a:lstStyle>
            <a:lvl1pPr marL="213360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428626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641986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857250" indent="-226696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070610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5194302" y="1436371"/>
            <a:ext cx="4239258" cy="85803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9667241" y="2299337"/>
            <a:ext cx="4231640" cy="5273040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3360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9667241" y="1436371"/>
            <a:ext cx="4231640" cy="858037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2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6" name="Footer Placeholder 5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3375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4078623" y="1436370"/>
            <a:ext cx="3126053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425726" y="1436370"/>
            <a:ext cx="3126053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10782301" y="1436370"/>
            <a:ext cx="3116579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521" y="2299336"/>
            <a:ext cx="3114040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1" y="1436370"/>
            <a:ext cx="3114040" cy="862966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4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17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4078623" y="2299336"/>
            <a:ext cx="3126053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40" hasCustomPrompt="1"/>
          </p:nvPr>
        </p:nvSpPr>
        <p:spPr>
          <a:xfrm>
            <a:off x="7425726" y="2299336"/>
            <a:ext cx="3126053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41" hasCustomPrompt="1"/>
          </p:nvPr>
        </p:nvSpPr>
        <p:spPr>
          <a:xfrm>
            <a:off x="10782301" y="2299336"/>
            <a:ext cx="3116579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269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/ 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4078618" y="1436370"/>
            <a:ext cx="3710253" cy="862966"/>
          </a:xfrm>
          <a:prstGeom prst="chevron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marR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lang="en-GB" sz="2160" b="1" noProof="0" dirty="0">
                <a:solidFill>
                  <a:schemeClr val="tx1"/>
                </a:solidFill>
              </a:defRPr>
            </a:lvl1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 dirty="0"/>
              <a:t>Highlighted    Text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425720" y="1436370"/>
            <a:ext cx="3710253" cy="862966"/>
          </a:xfrm>
          <a:prstGeom prst="chevron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marR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lang="en-GB" sz="2160" b="1" noProof="0" dirty="0">
                <a:solidFill>
                  <a:schemeClr val="tx1"/>
                </a:solidFill>
              </a:defRPr>
            </a:lvl1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 dirty="0"/>
              <a:t>Highlighted    Text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10782299" y="1436370"/>
            <a:ext cx="3700779" cy="862966"/>
          </a:xfrm>
          <a:prstGeom prst="chevron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0" marR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lang="en-GB" sz="2160" b="1" noProof="0" dirty="0">
                <a:solidFill>
                  <a:schemeClr val="tx1"/>
                </a:solidFill>
              </a:defRPr>
            </a:lvl1pPr>
          </a:lstStyle>
          <a:p>
            <a:pPr marL="0" marR="0" lvl="0" indent="0" algn="ctr" defTabSz="54864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noProof="0" dirty="0"/>
              <a:t>Highlighted    Tex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521" y="2299336"/>
            <a:ext cx="3114040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16" y="1436370"/>
            <a:ext cx="3698242" cy="862966"/>
          </a:xfrm>
          <a:prstGeom prst="homePlate">
            <a:avLst/>
          </a:prstGeom>
          <a:solidFill>
            <a:srgbClr val="B3B3B3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>
            <a:lvl1pPr marL="0" indent="0" algn="ctr">
              <a:buNone/>
              <a:defRPr lang="en-GB" sz="2160" b="1" noProof="0" dirty="0">
                <a:solidFill>
                  <a:schemeClr val="tx1"/>
                </a:solidFill>
                <a:ea typeface="+mn-ea"/>
                <a:cs typeface="+mn-cs"/>
              </a:defRPr>
            </a:lvl1pPr>
          </a:lstStyle>
          <a:p>
            <a:pPr lvl="0" algn="ctr">
              <a:spcBef>
                <a:spcPct val="0"/>
              </a:spcBef>
            </a:pPr>
            <a:r>
              <a:rPr lang="en-GB" noProof="0" dirty="0"/>
              <a:t>Highlighted    Text</a:t>
            </a:r>
          </a:p>
        </p:txBody>
      </p:sp>
      <p:pic>
        <p:nvPicPr>
          <p:cNvPr id="14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17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4078623" y="2299336"/>
            <a:ext cx="3126053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40" hasCustomPrompt="1"/>
          </p:nvPr>
        </p:nvSpPr>
        <p:spPr>
          <a:xfrm>
            <a:off x="7425726" y="2299336"/>
            <a:ext cx="3126053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41" hasCustomPrompt="1"/>
          </p:nvPr>
        </p:nvSpPr>
        <p:spPr>
          <a:xfrm>
            <a:off x="10782301" y="2299336"/>
            <a:ext cx="3116579" cy="5257172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5266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2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722197" y="1245012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4081512" y="1245012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45" hasCustomPrompt="1"/>
          </p:nvPr>
        </p:nvSpPr>
        <p:spPr>
          <a:xfrm>
            <a:off x="7440827" y="1245012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6" hasCustomPrompt="1"/>
          </p:nvPr>
        </p:nvSpPr>
        <p:spPr>
          <a:xfrm>
            <a:off x="10800141" y="1245012"/>
            <a:ext cx="533402" cy="400051"/>
          </a:xfrm>
          <a:prstGeom prst="ellipse">
            <a:avLst/>
          </a:prstGeom>
          <a:solidFill>
            <a:srgbClr val="F4000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lvl1pPr marL="0" indent="0" algn="ctr">
              <a:buNone/>
              <a:defRPr lang="en-US" sz="2160" b="0" smtClean="0">
                <a:solidFill>
                  <a:schemeClr val="l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lang="en-US" smtClean="0">
                <a:solidFill>
                  <a:schemeClr val="lt1"/>
                </a:solidFill>
                <a:ea typeface="+mn-ea"/>
              </a:defRPr>
            </a:lvl2pPr>
            <a:lvl3pPr>
              <a:defRPr lang="en-US" smtClean="0">
                <a:solidFill>
                  <a:schemeClr val="lt1"/>
                </a:solidFill>
                <a:ea typeface="+mn-ea"/>
              </a:defRPr>
            </a:lvl3pPr>
            <a:lvl4pPr>
              <a:defRPr lang="en-US" smtClean="0">
                <a:solidFill>
                  <a:schemeClr val="lt1"/>
                </a:solidFill>
                <a:ea typeface="+mn-ea"/>
              </a:defRPr>
            </a:lvl4pPr>
            <a:lvl5pPr>
              <a:defRPr lang="en-GB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22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519" y="2299335"/>
            <a:ext cx="6469381" cy="20658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19" y="1436372"/>
            <a:ext cx="6469381" cy="86296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0" name="Text Placeholder 23"/>
          <p:cNvSpPr>
            <a:spLocks noGrp="1"/>
          </p:cNvSpPr>
          <p:nvPr>
            <p:ph type="body" sz="quarter" idx="37" hasCustomPrompt="1"/>
          </p:nvPr>
        </p:nvSpPr>
        <p:spPr>
          <a:xfrm>
            <a:off x="731519" y="5454016"/>
            <a:ext cx="6469381" cy="2092283"/>
          </a:xfrm>
        </p:spPr>
        <p:txBody>
          <a:bodyPr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731519" y="4589146"/>
            <a:ext cx="6469381" cy="86487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7429501" y="5454015"/>
            <a:ext cx="6469379" cy="2092282"/>
          </a:xfrm>
        </p:spPr>
        <p:txBody>
          <a:bodyPr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7429501" y="4589146"/>
            <a:ext cx="6469379" cy="86487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41" hasCustomPrompt="1"/>
          </p:nvPr>
        </p:nvSpPr>
        <p:spPr>
          <a:xfrm>
            <a:off x="7429501" y="2299335"/>
            <a:ext cx="6469379" cy="2065862"/>
          </a:xfrm>
        </p:spPr>
        <p:txBody>
          <a:bodyPr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42" hasCustomPrompt="1"/>
          </p:nvPr>
        </p:nvSpPr>
        <p:spPr>
          <a:xfrm>
            <a:off x="7429501" y="1436372"/>
            <a:ext cx="6469379" cy="86296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4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552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5194302" y="1440924"/>
            <a:ext cx="4239258" cy="85841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5194302" y="2299336"/>
            <a:ext cx="4239259" cy="2118360"/>
          </a:xfrm>
        </p:spPr>
        <p:txBody>
          <a:bodyPr>
            <a:noAutofit/>
          </a:bodyPr>
          <a:lstStyle>
            <a:lvl1pPr marL="213360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428626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641986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857250" indent="-226696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070610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9667241" y="2299336"/>
            <a:ext cx="4231640" cy="2118360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3360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731521" y="4589146"/>
            <a:ext cx="4234181" cy="88392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3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5194302" y="4589145"/>
            <a:ext cx="4239258" cy="88391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42" hasCustomPrompt="1"/>
          </p:nvPr>
        </p:nvSpPr>
        <p:spPr>
          <a:xfrm>
            <a:off x="9667241" y="4589146"/>
            <a:ext cx="4231640" cy="883920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731521" y="2299336"/>
            <a:ext cx="4234181" cy="2118360"/>
          </a:xfrm>
        </p:spPr>
        <p:txBody>
          <a:bodyPr>
            <a:noAutofit/>
          </a:bodyPr>
          <a:lstStyle>
            <a:lvl1pPr marL="213360" indent="-213360">
              <a:defRPr sz="1440"/>
            </a:lvl1pPr>
            <a:lvl2pPr marL="428626" indent="-213360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1" y="1440924"/>
            <a:ext cx="4234181" cy="85841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9667240" y="1440924"/>
            <a:ext cx="4231642" cy="858412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8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20" name="Text Placeholder 23"/>
          <p:cNvSpPr>
            <a:spLocks noGrp="1"/>
          </p:cNvSpPr>
          <p:nvPr>
            <p:ph type="body" sz="quarter" idx="43" hasCustomPrompt="1"/>
          </p:nvPr>
        </p:nvSpPr>
        <p:spPr>
          <a:xfrm>
            <a:off x="5194302" y="5473065"/>
            <a:ext cx="4239259" cy="2093594"/>
          </a:xfrm>
        </p:spPr>
        <p:txBody>
          <a:bodyPr>
            <a:noAutofit/>
          </a:bodyPr>
          <a:lstStyle>
            <a:lvl1pPr marL="213360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1pPr>
            <a:lvl2pPr marL="428626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2pPr>
            <a:lvl3pPr marL="641986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3pPr>
            <a:lvl4pPr marL="857250" indent="-226696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 smtClean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4pPr>
            <a:lvl5pPr marL="1070610" indent="-213360" algn="l" defTabSz="548640" rtl="0" eaLnBrk="1" fontAlgn="base" hangingPunct="1">
              <a:spcBef>
                <a:spcPct val="20000"/>
              </a:spcBef>
              <a:spcAft>
                <a:spcPct val="0"/>
              </a:spcAft>
              <a:defRPr lang="en-GB" sz="1440" kern="1200" noProof="0" dirty="0">
                <a:solidFill>
                  <a:schemeClr val="tx1"/>
                </a:solidFill>
                <a:latin typeface="+mn-lt"/>
                <a:ea typeface="ＭＳ Ｐゴシック" charset="0"/>
                <a:cs typeface="Arial"/>
              </a:defRPr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Text Placeholder 23"/>
          <p:cNvSpPr>
            <a:spLocks noGrp="1"/>
          </p:cNvSpPr>
          <p:nvPr>
            <p:ph type="body" sz="quarter" idx="44" hasCustomPrompt="1"/>
          </p:nvPr>
        </p:nvSpPr>
        <p:spPr>
          <a:xfrm>
            <a:off x="9667241" y="5473065"/>
            <a:ext cx="4231640" cy="2093593"/>
          </a:xfrm>
        </p:spPr>
        <p:txBody>
          <a:bodyPr>
            <a:normAutofit/>
          </a:bodyPr>
          <a:lstStyle>
            <a:lvl1pPr marL="213360" indent="-213360">
              <a:defRPr sz="1440"/>
            </a:lvl1pPr>
            <a:lvl2pPr marL="428626" indent="-213360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45" hasCustomPrompt="1"/>
          </p:nvPr>
        </p:nvSpPr>
        <p:spPr>
          <a:xfrm>
            <a:off x="731521" y="5473066"/>
            <a:ext cx="4234181" cy="2093592"/>
          </a:xfrm>
        </p:spPr>
        <p:txBody>
          <a:bodyPr>
            <a:noAutofit/>
          </a:bodyPr>
          <a:lstStyle>
            <a:lvl1pPr marL="213360" indent="-213360">
              <a:defRPr sz="1440"/>
            </a:lvl1pPr>
            <a:lvl2pPr marL="428626" indent="-213360">
              <a:defRPr sz="1440"/>
            </a:lvl2pPr>
            <a:lvl3pPr marL="641986" indent="-213360">
              <a:defRPr sz="1440"/>
            </a:lvl3pPr>
            <a:lvl4pPr marL="857250" indent="-226696">
              <a:defRPr sz="1440"/>
            </a:lvl4pPr>
            <a:lvl5pPr marL="1070610" indent="-213360"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9320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4076703" y="1436371"/>
            <a:ext cx="9822179" cy="2981324"/>
          </a:xfr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27" hasCustomPrompt="1"/>
          </p:nvPr>
        </p:nvSpPr>
        <p:spPr>
          <a:xfrm>
            <a:off x="4076703" y="4589146"/>
            <a:ext cx="9822179" cy="2977514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4" hasCustomPrompt="1"/>
          </p:nvPr>
        </p:nvSpPr>
        <p:spPr>
          <a:xfrm>
            <a:off x="731521" y="1436371"/>
            <a:ext cx="3114040" cy="2981324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25" hasCustomPrompt="1"/>
          </p:nvPr>
        </p:nvSpPr>
        <p:spPr>
          <a:xfrm>
            <a:off x="731521" y="4589146"/>
            <a:ext cx="3114040" cy="2977514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3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5544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26" hasCustomPrompt="1"/>
          </p:nvPr>
        </p:nvSpPr>
        <p:spPr>
          <a:xfrm>
            <a:off x="4076702" y="1436370"/>
            <a:ext cx="9822181" cy="1929766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27" hasCustomPrompt="1"/>
          </p:nvPr>
        </p:nvSpPr>
        <p:spPr>
          <a:xfrm>
            <a:off x="4076702" y="3541397"/>
            <a:ext cx="9822181" cy="1931668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24" hasCustomPrompt="1"/>
          </p:nvPr>
        </p:nvSpPr>
        <p:spPr>
          <a:xfrm>
            <a:off x="731521" y="1436370"/>
            <a:ext cx="3114040" cy="1929766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8" hasCustomPrompt="1"/>
          </p:nvPr>
        </p:nvSpPr>
        <p:spPr>
          <a:xfrm>
            <a:off x="731521" y="3541397"/>
            <a:ext cx="3114040" cy="1931669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29" hasCustomPrompt="1"/>
          </p:nvPr>
        </p:nvSpPr>
        <p:spPr>
          <a:xfrm>
            <a:off x="4076703" y="5646420"/>
            <a:ext cx="9822178" cy="1920240"/>
          </a:xfrm>
        </p:spPr>
        <p:txBody>
          <a:bodyPr anchor="ctr"/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30" hasCustomPrompt="1"/>
          </p:nvPr>
        </p:nvSpPr>
        <p:spPr>
          <a:xfrm>
            <a:off x="731521" y="5646420"/>
            <a:ext cx="3114040" cy="192024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16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2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4" name="Footer Placeholder 3"/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5230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C072B-9EBB-4B77-9B36-B7CF8FBBC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5" cy="192024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830DD5-886D-433E-A7D1-FD8C5AE305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9826" y="1184912"/>
            <a:ext cx="7406640" cy="5848350"/>
          </a:xfrm>
        </p:spPr>
        <p:txBody>
          <a:bodyPr/>
          <a:lstStyle>
            <a:lvl1pPr>
              <a:defRPr sz="2880"/>
            </a:lvl1pPr>
            <a:lvl2pPr>
              <a:defRPr sz="2520"/>
            </a:lvl2pPr>
            <a:lvl3pPr>
              <a:defRPr sz="216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7A2E1E-8A0D-441A-86DB-B2C3E381DC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5" cy="4573906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B580F2-BC6D-461D-9ECE-8CE58C6F96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0697E9-BD24-40BC-A52B-83195AA093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A8F369-1E6C-4282-B3CE-9D6C90132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2409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6" name="Text Placeholder 23"/>
          <p:cNvSpPr>
            <a:spLocks noGrp="1"/>
          </p:cNvSpPr>
          <p:nvPr>
            <p:ph type="body" sz="quarter" idx="28" hasCustomPrompt="1"/>
          </p:nvPr>
        </p:nvSpPr>
        <p:spPr>
          <a:xfrm>
            <a:off x="4076703" y="1436371"/>
            <a:ext cx="9822179" cy="1402079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4" name="Text Placeholder 20"/>
          <p:cNvSpPr>
            <a:spLocks noGrp="1"/>
          </p:cNvSpPr>
          <p:nvPr>
            <p:ph type="body" sz="quarter" idx="30" hasCustomPrompt="1"/>
          </p:nvPr>
        </p:nvSpPr>
        <p:spPr>
          <a:xfrm>
            <a:off x="731521" y="1436371"/>
            <a:ext cx="3114040" cy="1402079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31" hasCustomPrompt="1"/>
          </p:nvPr>
        </p:nvSpPr>
        <p:spPr>
          <a:xfrm>
            <a:off x="4076703" y="3011807"/>
            <a:ext cx="9822179" cy="1405889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7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1" y="3011807"/>
            <a:ext cx="3114040" cy="1405889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4076703" y="4589145"/>
            <a:ext cx="9822179" cy="1402078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31521" y="4589145"/>
            <a:ext cx="3114040" cy="1402078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076703" y="6162673"/>
            <a:ext cx="9822179" cy="140113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31521" y="6162673"/>
            <a:ext cx="3114040" cy="140113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5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655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orizonta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4076701" y="1441066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0" name="Text Placeholder 20"/>
          <p:cNvSpPr>
            <a:spLocks noGrp="1"/>
          </p:cNvSpPr>
          <p:nvPr>
            <p:ph type="body" sz="quarter" idx="32" hasCustomPrompt="1"/>
          </p:nvPr>
        </p:nvSpPr>
        <p:spPr>
          <a:xfrm>
            <a:off x="731521" y="1441066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4076701" y="2702652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9" name="Text Placeholder 20"/>
          <p:cNvSpPr>
            <a:spLocks noGrp="1"/>
          </p:cNvSpPr>
          <p:nvPr>
            <p:ph type="body" sz="quarter" idx="34" hasCustomPrompt="1"/>
          </p:nvPr>
        </p:nvSpPr>
        <p:spPr>
          <a:xfrm>
            <a:off x="731521" y="2702652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4076701" y="3964238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sz="quarter" idx="36" hasCustomPrompt="1"/>
          </p:nvPr>
        </p:nvSpPr>
        <p:spPr>
          <a:xfrm>
            <a:off x="731521" y="3964238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2" name="Text Placeholder 23"/>
          <p:cNvSpPr>
            <a:spLocks noGrp="1"/>
          </p:cNvSpPr>
          <p:nvPr>
            <p:ph type="body" sz="quarter" idx="37" hasCustomPrompt="1"/>
          </p:nvPr>
        </p:nvSpPr>
        <p:spPr>
          <a:xfrm>
            <a:off x="4076701" y="5225825"/>
            <a:ext cx="9822179" cy="1083060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Text Placeholder 20"/>
          <p:cNvSpPr>
            <a:spLocks noGrp="1"/>
          </p:cNvSpPr>
          <p:nvPr>
            <p:ph type="body" sz="quarter" idx="38" hasCustomPrompt="1"/>
          </p:nvPr>
        </p:nvSpPr>
        <p:spPr>
          <a:xfrm>
            <a:off x="731521" y="5225825"/>
            <a:ext cx="3114040" cy="1083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4076701" y="6487410"/>
            <a:ext cx="9822179" cy="1076393"/>
          </a:xfrm>
        </p:spPr>
        <p:txBody>
          <a:bodyPr anchor="ctr">
            <a:noAutofit/>
          </a:bodyPr>
          <a:lstStyle>
            <a:lvl1pPr>
              <a:defRPr sz="1440"/>
            </a:lvl1pPr>
            <a:lvl2pPr>
              <a:defRPr sz="1440"/>
            </a:lvl2pPr>
            <a:lvl3pPr>
              <a:defRPr sz="1440"/>
            </a:lvl3pPr>
            <a:lvl4pPr>
              <a:defRPr sz="1440"/>
            </a:lvl4pPr>
            <a:lvl5pPr>
              <a:defRPr sz="144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5" name="Text Placeholder 20"/>
          <p:cNvSpPr>
            <a:spLocks noGrp="1"/>
          </p:cNvSpPr>
          <p:nvPr>
            <p:ph type="body" sz="quarter" idx="40" hasCustomPrompt="1"/>
          </p:nvPr>
        </p:nvSpPr>
        <p:spPr>
          <a:xfrm>
            <a:off x="731521" y="6487410"/>
            <a:ext cx="3114040" cy="1076393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92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Highlighted Text</a:t>
            </a:r>
          </a:p>
        </p:txBody>
      </p:sp>
      <p:pic>
        <p:nvPicPr>
          <p:cNvPr id="1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6115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30" hasCustomPrompt="1"/>
          </p:nvPr>
        </p:nvSpPr>
        <p:spPr>
          <a:xfrm>
            <a:off x="2533558" y="1441066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2" name="Text Placeholder 23"/>
          <p:cNvSpPr>
            <a:spLocks noGrp="1"/>
          </p:cNvSpPr>
          <p:nvPr>
            <p:ph type="body" sz="quarter" idx="33" hasCustomPrompt="1"/>
          </p:nvPr>
        </p:nvSpPr>
        <p:spPr>
          <a:xfrm>
            <a:off x="2533558" y="2702652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35" hasCustomPrompt="1"/>
          </p:nvPr>
        </p:nvSpPr>
        <p:spPr>
          <a:xfrm>
            <a:off x="2533558" y="3964238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2" name="Text Placeholder 23"/>
          <p:cNvSpPr>
            <a:spLocks noGrp="1"/>
          </p:cNvSpPr>
          <p:nvPr>
            <p:ph type="body" sz="quarter" idx="37" hasCustomPrompt="1"/>
          </p:nvPr>
        </p:nvSpPr>
        <p:spPr>
          <a:xfrm>
            <a:off x="2533558" y="5225825"/>
            <a:ext cx="11365323" cy="1083060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39" hasCustomPrompt="1"/>
          </p:nvPr>
        </p:nvSpPr>
        <p:spPr>
          <a:xfrm>
            <a:off x="2533558" y="6487410"/>
            <a:ext cx="11365323" cy="1076393"/>
          </a:xfrm>
        </p:spPr>
        <p:txBody>
          <a:bodyPr anchor="ctr">
            <a:noAutofit/>
          </a:bodyPr>
          <a:lstStyle>
            <a:lvl1pPr>
              <a:defRPr sz="1680"/>
            </a:lvl1pPr>
            <a:lvl2pPr>
              <a:defRPr sz="1680"/>
            </a:lvl2pPr>
            <a:lvl3pPr>
              <a:defRPr sz="1680"/>
            </a:lvl3pPr>
            <a:lvl4pPr>
              <a:defRPr sz="1680"/>
            </a:lvl4pPr>
            <a:lvl5pPr>
              <a:defRPr sz="1680"/>
            </a:lvl5pPr>
          </a:lstStyle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slide title (across BUs)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42" hasCustomPrompt="1"/>
          </p:nvPr>
        </p:nvSpPr>
        <p:spPr>
          <a:xfrm>
            <a:off x="731520" y="1441066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43" hasCustomPrompt="1"/>
          </p:nvPr>
        </p:nvSpPr>
        <p:spPr>
          <a:xfrm>
            <a:off x="731520" y="2706120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3" name="Picture Placeholder 5"/>
          <p:cNvSpPr>
            <a:spLocks noGrp="1"/>
          </p:cNvSpPr>
          <p:nvPr>
            <p:ph type="pic" sz="quarter" idx="44" hasCustomPrompt="1"/>
          </p:nvPr>
        </p:nvSpPr>
        <p:spPr>
          <a:xfrm>
            <a:off x="731520" y="3962948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4" name="Picture Placeholder 5"/>
          <p:cNvSpPr>
            <a:spLocks noGrp="1"/>
          </p:cNvSpPr>
          <p:nvPr>
            <p:ph type="pic" sz="quarter" idx="45" hasCustomPrompt="1"/>
          </p:nvPr>
        </p:nvSpPr>
        <p:spPr>
          <a:xfrm>
            <a:off x="731520" y="6487410"/>
            <a:ext cx="1445760" cy="1076393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  <p:sp>
        <p:nvSpPr>
          <p:cNvPr id="25" name="Picture Placeholder 5"/>
          <p:cNvSpPr>
            <a:spLocks noGrp="1"/>
          </p:cNvSpPr>
          <p:nvPr>
            <p:ph type="pic" sz="quarter" idx="46" hasCustomPrompt="1"/>
          </p:nvPr>
        </p:nvSpPr>
        <p:spPr>
          <a:xfrm>
            <a:off x="731520" y="5219777"/>
            <a:ext cx="1445760" cy="1083060"/>
          </a:xfrm>
        </p:spPr>
        <p:txBody>
          <a:bodyPr anchor="ctr">
            <a:noAutofit/>
          </a:bodyPr>
          <a:lstStyle>
            <a:lvl1pPr marL="0" indent="0" algn="ctr">
              <a:spcBef>
                <a:spcPts val="0"/>
              </a:spcBef>
              <a:buNone/>
              <a:defRPr sz="1920" b="1"/>
            </a:lvl1pPr>
          </a:lstStyle>
          <a:p>
            <a:r>
              <a:rPr lang="en-GB" dirty="0"/>
              <a:t>BU flag</a:t>
            </a:r>
          </a:p>
        </p:txBody>
      </p:sp>
    </p:spTree>
    <p:extLst>
      <p:ext uri="{BB962C8B-B14F-4D97-AF65-F5344CB8AC3E}">
        <p14:creationId xmlns:p14="http://schemas.microsoft.com/office/powerpoint/2010/main" val="5661696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8" name="TextBox 7"/>
          <p:cNvSpPr txBox="1">
            <a:spLocks noChangeAspect="1"/>
          </p:cNvSpPr>
          <p:nvPr userDrawn="1"/>
        </p:nvSpPr>
        <p:spPr>
          <a:xfrm>
            <a:off x="13251442" y="7788771"/>
            <a:ext cx="64174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EB02245E-B63F-4601-BFC3-7DBCCE4DD44C}" type="slidenum">
              <a:rPr lang="en-GB" sz="1200" smtClean="0">
                <a:solidFill>
                  <a:srgbClr val="FEFFFF"/>
                </a:solidFill>
                <a:ea typeface="ＭＳ Ｐゴシック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  <a:ea typeface="ＭＳ Ｐゴシック" charset="0"/>
            </a:endParaRPr>
          </a:p>
        </p:txBody>
      </p:sp>
      <p:pic>
        <p:nvPicPr>
          <p:cNvPr id="9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agenda 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>
                <a:solidFill>
                  <a:srgbClr val="FEFFFF"/>
                </a:solidFill>
              </a:rPr>
              <a:t>1. XXX  2. XXX  3. XXX  Source: XXX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521" y="1436371"/>
            <a:ext cx="13169899" cy="6130289"/>
          </a:xfrm>
        </p:spPr>
        <p:txBody>
          <a:bodyPr>
            <a:normAutofit/>
          </a:bodyPr>
          <a:lstStyle>
            <a:lvl1pPr marL="428626" indent="-428626">
              <a:spcBef>
                <a:spcPts val="720"/>
              </a:spcBef>
              <a:spcAft>
                <a:spcPts val="720"/>
              </a:spcAft>
              <a:buFont typeface="Arial" panose="020B0604020202020204" pitchFamily="34" charset="0"/>
              <a:buChar char="•"/>
              <a:defRPr sz="2640">
                <a:solidFill>
                  <a:schemeClr val="bg1"/>
                </a:solidFill>
              </a:defRPr>
            </a:lvl1pPr>
            <a:lvl2pPr marL="857250" indent="-428626">
              <a:spcBef>
                <a:spcPts val="720"/>
              </a:spcBef>
              <a:spcAft>
                <a:spcPts val="720"/>
              </a:spcAft>
              <a:buFont typeface="Arial" panose="020B0604020202020204" pitchFamily="34" charset="0"/>
              <a:buChar char="−"/>
              <a:defRPr sz="2400">
                <a:solidFill>
                  <a:schemeClr val="bg1"/>
                </a:solidFill>
              </a:defRPr>
            </a:lvl2pPr>
            <a:lvl3pP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574015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sp>
        <p:nvSpPr>
          <p:cNvPr id="8" name="TextBox 7"/>
          <p:cNvSpPr txBox="1">
            <a:spLocks noChangeAspect="1"/>
          </p:cNvSpPr>
          <p:nvPr userDrawn="1"/>
        </p:nvSpPr>
        <p:spPr>
          <a:xfrm>
            <a:off x="13251442" y="7788771"/>
            <a:ext cx="641744" cy="276999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EB02245E-B63F-4601-BFC3-7DBCCE4DD44C}" type="slidenum">
              <a:rPr lang="en-GB" sz="1200" smtClean="0">
                <a:solidFill>
                  <a:srgbClr val="FEFFFF"/>
                </a:solidFill>
                <a:ea typeface="ＭＳ Ｐゴシック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  <a:ea typeface="ＭＳ Ｐゴシック" charset="0"/>
            </a:endParaRPr>
          </a:p>
        </p:txBody>
      </p:sp>
      <p:pic>
        <p:nvPicPr>
          <p:cNvPr id="9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index tit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>
                <a:solidFill>
                  <a:srgbClr val="FEFFFF"/>
                </a:solidFill>
              </a:rPr>
              <a:t>1. XXX  2. XXX  3. XXX  Source: XXX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1521" y="1436371"/>
            <a:ext cx="13169899" cy="6130289"/>
          </a:xfrm>
        </p:spPr>
        <p:txBody>
          <a:bodyPr>
            <a:noAutofit/>
          </a:bodyPr>
          <a:lstStyle>
            <a:lvl1pPr marL="428626" indent="-428626">
              <a:spcBef>
                <a:spcPts val="720"/>
              </a:spcBef>
              <a:spcAft>
                <a:spcPts val="720"/>
              </a:spcAft>
              <a:buFont typeface="+mj-lt"/>
              <a:buAutoNum type="arabicPeriod"/>
              <a:defRPr sz="2640">
                <a:solidFill>
                  <a:schemeClr val="bg1"/>
                </a:solidFill>
              </a:defRPr>
            </a:lvl1pPr>
            <a:lvl2pPr marL="857250" indent="-428626">
              <a:spcBef>
                <a:spcPts val="720"/>
              </a:spcBef>
              <a:spcAft>
                <a:spcPts val="720"/>
              </a:spcAft>
              <a:buFont typeface="+mj-lt"/>
              <a:buAutoNum type="alphaLcPeriod"/>
              <a:defRPr sz="2400">
                <a:solidFill>
                  <a:schemeClr val="bg1"/>
                </a:solidFill>
              </a:defRPr>
            </a:lvl2pPr>
            <a:lvl3pPr>
              <a:buFont typeface="+mj-lt"/>
              <a:buAutoNum type="arabicPeriod"/>
              <a:defRPr>
                <a:solidFill>
                  <a:schemeClr val="bg1"/>
                </a:solidFill>
              </a:defRPr>
            </a:lvl3pPr>
            <a:lvl4pPr>
              <a:buFont typeface="+mj-lt"/>
              <a:buAutoNum type="arabicPeriod"/>
              <a:defRPr>
                <a:solidFill>
                  <a:schemeClr val="bg1"/>
                </a:solidFill>
              </a:defRPr>
            </a:lvl4pPr>
            <a:lvl5pPr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1"/>
            <a:r>
              <a:rPr lang="en-US" dirty="0"/>
              <a:t>Sub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78399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11"/>
          <p:cNvSpPr/>
          <p:nvPr userDrawn="1"/>
        </p:nvSpPr>
        <p:spPr>
          <a:xfrm>
            <a:off x="-2" y="3810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6" name="Imagen 10" descr="logo_blanco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contents page title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31521" y="1440457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31521" y="2647691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31521" y="3854926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31521" y="5062161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5" hasCustomPrompt="1"/>
          </p:nvPr>
        </p:nvSpPr>
        <p:spPr>
          <a:xfrm>
            <a:off x="2269421" y="1440457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6" hasCustomPrompt="1"/>
          </p:nvPr>
        </p:nvSpPr>
        <p:spPr>
          <a:xfrm>
            <a:off x="2269421" y="2647691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7" name="Text Placeholder 24"/>
          <p:cNvSpPr>
            <a:spLocks noGrp="1"/>
          </p:cNvSpPr>
          <p:nvPr>
            <p:ph type="body" sz="quarter" idx="17" hasCustomPrompt="1"/>
          </p:nvPr>
        </p:nvSpPr>
        <p:spPr>
          <a:xfrm>
            <a:off x="2269421" y="3854926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8" name="Text Placeholder 24"/>
          <p:cNvSpPr>
            <a:spLocks noGrp="1"/>
          </p:cNvSpPr>
          <p:nvPr>
            <p:ph type="body" sz="quarter" idx="18" hasCustomPrompt="1"/>
          </p:nvPr>
        </p:nvSpPr>
        <p:spPr>
          <a:xfrm>
            <a:off x="2269421" y="5062161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31521" y="6269395"/>
            <a:ext cx="985736" cy="739302"/>
          </a:xfrm>
          <a:prstGeom prst="ellipse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rmAutofit/>
          </a:bodyPr>
          <a:lstStyle>
            <a:lvl1pPr marL="0" indent="0" algn="ctr">
              <a:buNone/>
              <a:defRPr lang="en-US" sz="3360" b="1" dirty="0" smtClean="0">
                <a:solidFill>
                  <a:schemeClr val="lt1"/>
                </a:solidFill>
                <a:latin typeface="+mj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lt1"/>
                </a:solidFill>
                <a:ea typeface="+mn-ea"/>
              </a:defRPr>
            </a:lvl2pPr>
            <a:lvl3pPr>
              <a:defRPr lang="en-US" dirty="0" smtClean="0">
                <a:solidFill>
                  <a:schemeClr val="lt1"/>
                </a:solidFill>
                <a:ea typeface="+mn-ea"/>
              </a:defRPr>
            </a:lvl3pPr>
            <a:lvl4pPr>
              <a:defRPr lang="en-US" dirty="0" smtClean="0">
                <a:solidFill>
                  <a:schemeClr val="lt1"/>
                </a:solidFill>
                <a:ea typeface="+mn-ea"/>
              </a:defRPr>
            </a:lvl4pPr>
            <a:lvl5pPr>
              <a:defRPr lang="en-GB" dirty="0">
                <a:solidFill>
                  <a:schemeClr val="lt1"/>
                </a:solidFill>
                <a:ea typeface="+mn-ea"/>
              </a:defRPr>
            </a:lvl5pPr>
          </a:lstStyle>
          <a:p>
            <a:pPr lvl="0" algn="ctr">
              <a:spcBef>
                <a:spcPct val="0"/>
              </a:spcBef>
            </a:pPr>
            <a:r>
              <a:rPr lang="en-US" dirty="0"/>
              <a:t>#</a:t>
            </a:r>
            <a:endParaRPr lang="en-GB" dirty="0"/>
          </a:p>
        </p:txBody>
      </p:sp>
      <p:sp>
        <p:nvSpPr>
          <p:cNvPr id="30" name="Text Placeholder 24"/>
          <p:cNvSpPr>
            <a:spLocks noGrp="1"/>
          </p:cNvSpPr>
          <p:nvPr>
            <p:ph type="body" sz="quarter" idx="20" hasCustomPrompt="1"/>
          </p:nvPr>
        </p:nvSpPr>
        <p:spPr>
          <a:xfrm>
            <a:off x="2269421" y="6269395"/>
            <a:ext cx="11629459" cy="739302"/>
          </a:xfrm>
        </p:spPr>
        <p:txBody>
          <a:bodyPr anchor="ctr">
            <a:normAutofit/>
          </a:bodyPr>
          <a:lstStyle>
            <a:lvl1pPr marL="0" indent="0">
              <a:spcBef>
                <a:spcPts val="0"/>
              </a:spcBef>
              <a:buNone/>
              <a:defRPr sz="3360"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562385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18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978" y="850212"/>
            <a:ext cx="14656378" cy="7379388"/>
          </a:xfrm>
          <a:prstGeom prst="rect">
            <a:avLst/>
          </a:prstGeom>
          <a:effectLst/>
        </p:spPr>
      </p:pic>
      <p:pic>
        <p:nvPicPr>
          <p:cNvPr id="14" name="Imagen 9" descr="ribbon_white_ok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30" y="994709"/>
            <a:ext cx="14651430" cy="2831957"/>
          </a:xfrm>
          <a:prstGeom prst="rect">
            <a:avLst/>
          </a:prstGeom>
          <a:effectLst/>
        </p:spPr>
      </p:pic>
      <p:pic>
        <p:nvPicPr>
          <p:cNvPr id="10" name="Imagen 10" descr="logo_blanco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4" hasCustomPrompt="1"/>
          </p:nvPr>
        </p:nvSpPr>
        <p:spPr>
          <a:xfrm>
            <a:off x="731521" y="1435674"/>
            <a:ext cx="10500360" cy="863662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2880358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0213"/>
            <a:ext cx="14609370" cy="7379389"/>
          </a:xfrm>
          <a:prstGeom prst="rect">
            <a:avLst/>
          </a:prstGeom>
          <a:effectLst/>
        </p:spPr>
      </p:pic>
      <p:pic>
        <p:nvPicPr>
          <p:cNvPr id="11" name="Imagen 9" descr="ribbon_white_ok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30" y="994709"/>
            <a:ext cx="14630400" cy="2831957"/>
          </a:xfrm>
          <a:prstGeom prst="rect">
            <a:avLst/>
          </a:prstGeom>
          <a:effectLst/>
        </p:spPr>
      </p:pic>
      <p:pic>
        <p:nvPicPr>
          <p:cNvPr id="10" name="Imagen 10" descr="logo_blanco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3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31520" y="1436369"/>
            <a:ext cx="10502899" cy="862967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1527557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ángulo 6"/>
          <p:cNvSpPr/>
          <p:nvPr userDrawn="1"/>
        </p:nvSpPr>
        <p:spPr>
          <a:xfrm>
            <a:off x="-1" y="0"/>
            <a:ext cx="14630402" cy="822960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978" y="850212"/>
            <a:ext cx="14656378" cy="7379388"/>
          </a:xfrm>
          <a:prstGeom prst="rect">
            <a:avLst/>
          </a:prstGeom>
          <a:effectLst/>
        </p:spPr>
      </p:pic>
      <p:pic>
        <p:nvPicPr>
          <p:cNvPr id="10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pic>
        <p:nvPicPr>
          <p:cNvPr id="15" name="Imagen 9" descr="ribbon_white_ok.png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30" y="994709"/>
            <a:ext cx="14630400" cy="2831957"/>
          </a:xfrm>
          <a:prstGeom prst="rect">
            <a:avLst/>
          </a:prstGeom>
          <a:effectLst/>
        </p:spPr>
      </p:pic>
      <p:sp>
        <p:nvSpPr>
          <p:cNvPr id="16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731521" y="1436369"/>
            <a:ext cx="10485832" cy="862967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1224243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96257"/>
            <a:ext cx="14630400" cy="7433344"/>
          </a:xfrm>
          <a:prstGeom prst="rect">
            <a:avLst/>
          </a:prstGeom>
        </p:spPr>
      </p:pic>
      <p:sp>
        <p:nvSpPr>
          <p:cNvPr id="13" name="Rectángulo 11"/>
          <p:cNvSpPr/>
          <p:nvPr userDrawn="1"/>
        </p:nvSpPr>
        <p:spPr>
          <a:xfrm>
            <a:off x="0" y="1"/>
            <a:ext cx="14630400" cy="1186028"/>
          </a:xfrm>
          <a:prstGeom prst="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FEFFFF"/>
              </a:solidFill>
            </a:endParaRPr>
          </a:p>
        </p:txBody>
      </p:sp>
      <p:pic>
        <p:nvPicPr>
          <p:cNvPr id="12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presentation title</a:t>
            </a:r>
            <a:endParaRPr lang="en-GB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731520" y="7235189"/>
            <a:ext cx="4524582" cy="33147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buNone/>
              <a:defRPr sz="168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Date of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31521" y="1436370"/>
            <a:ext cx="10500360" cy="86296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92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 presentation subtitle / presenter name</a:t>
            </a:r>
          </a:p>
        </p:txBody>
      </p:sp>
    </p:spTree>
    <p:extLst>
      <p:ext uri="{BB962C8B-B14F-4D97-AF65-F5344CB8AC3E}">
        <p14:creationId xmlns:p14="http://schemas.microsoft.com/office/powerpoint/2010/main" val="3915617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68C77-FFEC-46B9-AC6F-F66523C881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746" y="548640"/>
            <a:ext cx="4718685" cy="1920240"/>
          </a:xfrm>
        </p:spPr>
        <p:txBody>
          <a:bodyPr anchor="b"/>
          <a:lstStyle>
            <a:lvl1pPr>
              <a:defRPr sz="288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D2BC5DE-6D6F-4185-8841-CA4AAFE1AF9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19826" y="1184912"/>
            <a:ext cx="7406640" cy="5848350"/>
          </a:xfrm>
        </p:spPr>
        <p:txBody>
          <a:bodyPr/>
          <a:lstStyle>
            <a:lvl1pPr marL="0" indent="0">
              <a:buNone/>
              <a:defRPr sz="2880"/>
            </a:lvl1pPr>
            <a:lvl2pPr marL="411480" indent="0">
              <a:buNone/>
              <a:defRPr sz="2520"/>
            </a:lvl2pPr>
            <a:lvl3pPr marL="822960" indent="0">
              <a:buNone/>
              <a:defRPr sz="2160"/>
            </a:lvl3pPr>
            <a:lvl4pPr marL="1234440" indent="0">
              <a:buNone/>
              <a:defRPr sz="1800"/>
            </a:lvl4pPr>
            <a:lvl5pPr marL="1645920" indent="0">
              <a:buNone/>
              <a:defRPr sz="1800"/>
            </a:lvl5pPr>
            <a:lvl6pPr marL="2057400" indent="0">
              <a:buNone/>
              <a:defRPr sz="1800"/>
            </a:lvl6pPr>
            <a:lvl7pPr marL="2468880" indent="0">
              <a:buNone/>
              <a:defRPr sz="1800"/>
            </a:lvl7pPr>
            <a:lvl8pPr marL="2880360" indent="0">
              <a:buNone/>
              <a:defRPr sz="1800"/>
            </a:lvl8pPr>
            <a:lvl9pPr marL="3291840" indent="0">
              <a:buNone/>
              <a:defRPr sz="18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91BAE9-8CCD-4593-8B72-59F3D093A17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07746" y="2468880"/>
            <a:ext cx="4718685" cy="4573906"/>
          </a:xfrm>
        </p:spPr>
        <p:txBody>
          <a:bodyPr/>
          <a:lstStyle>
            <a:lvl1pPr marL="0" indent="0">
              <a:buNone/>
              <a:defRPr sz="1440"/>
            </a:lvl1pPr>
            <a:lvl2pPr marL="411480" indent="0">
              <a:buNone/>
              <a:defRPr sz="1260"/>
            </a:lvl2pPr>
            <a:lvl3pPr marL="822960" indent="0">
              <a:buNone/>
              <a:defRPr sz="1080"/>
            </a:lvl3pPr>
            <a:lvl4pPr marL="1234440" indent="0">
              <a:buNone/>
              <a:defRPr sz="900"/>
            </a:lvl4pPr>
            <a:lvl5pPr marL="1645920" indent="0">
              <a:buNone/>
              <a:defRPr sz="900"/>
            </a:lvl5pPr>
            <a:lvl6pPr marL="2057400" indent="0">
              <a:buNone/>
              <a:defRPr sz="900"/>
            </a:lvl6pPr>
            <a:lvl7pPr marL="2468880" indent="0">
              <a:buNone/>
              <a:defRPr sz="900"/>
            </a:lvl7pPr>
            <a:lvl8pPr marL="2880360" indent="0">
              <a:buNone/>
              <a:defRPr sz="900"/>
            </a:lvl8pPr>
            <a:lvl9pPr marL="329184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D5A732-24B5-483D-A3B8-6A704707B7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59A445F-6B67-4627-8663-0207B9AD5E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AF4F96-2FE3-4226-9F3F-01081E0B7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8002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ángulo 5"/>
          <p:cNvSpPr/>
          <p:nvPr userDrawn="1"/>
        </p:nvSpPr>
        <p:spPr>
          <a:xfrm>
            <a:off x="0" y="0"/>
            <a:ext cx="14630400" cy="82296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000000"/>
              </a:solidFill>
            </a:endParaRPr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731519" y="139067"/>
            <a:ext cx="3472181" cy="9505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864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1</a:t>
            </a:r>
          </a:p>
        </p:txBody>
      </p:sp>
      <p:pic>
        <p:nvPicPr>
          <p:cNvPr id="12" name="Imagen 3" descr="ribbon_white_ok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78050"/>
            <a:ext cx="14630400" cy="2831957"/>
          </a:xfrm>
          <a:prstGeom prst="rect">
            <a:avLst/>
          </a:prstGeom>
        </p:spPr>
      </p:pic>
      <p:pic>
        <p:nvPicPr>
          <p:cNvPr id="11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14" name="Rectangle 13"/>
          <p:cNvSpPr/>
          <p:nvPr userDrawn="1"/>
        </p:nvSpPr>
        <p:spPr>
          <a:xfrm>
            <a:off x="13113834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 smtClean="0">
                <a:solidFill>
                  <a:srgbClr val="FE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28981" y="1436370"/>
            <a:ext cx="10502899" cy="862966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1506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48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4" imgW="492" imgH="493" progId="TCLayout.ActiveDocument.1">
                  <p:embed/>
                </p:oleObj>
              </mc:Choice>
              <mc:Fallback>
                <p:oleObj name="think-cell Slide" r:id="rId4" imgW="492" imgH="49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ángulo 9"/>
          <p:cNvSpPr/>
          <p:nvPr userDrawn="1"/>
        </p:nvSpPr>
        <p:spPr>
          <a:xfrm>
            <a:off x="0" y="1"/>
            <a:ext cx="14630400" cy="8229600"/>
          </a:xfrm>
          <a:prstGeom prst="rect">
            <a:avLst/>
          </a:prstGeom>
          <a:solidFill>
            <a:srgbClr val="A4A4A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000000"/>
              </a:solidFill>
            </a:endParaRPr>
          </a:p>
        </p:txBody>
      </p:sp>
      <p:pic>
        <p:nvPicPr>
          <p:cNvPr id="14" name="Imagen 3" descr="ribbon_white_ok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80269"/>
            <a:ext cx="14630400" cy="2831957"/>
          </a:xfrm>
          <a:prstGeom prst="rect">
            <a:avLst/>
          </a:prstGeom>
        </p:spPr>
      </p:pic>
      <p:sp>
        <p:nvSpPr>
          <p:cNvPr id="9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731521" y="139067"/>
            <a:ext cx="3472181" cy="9505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>
              <a:buNone/>
              <a:defRPr sz="864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noProof="0" dirty="0"/>
              <a:t>1a</a:t>
            </a:r>
          </a:p>
        </p:txBody>
      </p:sp>
      <p:pic>
        <p:nvPicPr>
          <p:cNvPr id="13" name="Imagen 10" descr="logo_blanco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17587" y="263126"/>
            <a:ext cx="2304298" cy="678059"/>
          </a:xfrm>
          <a:prstGeom prst="rect">
            <a:avLst/>
          </a:prstGeom>
          <a:effectLst/>
        </p:spPr>
      </p:pic>
      <p:sp>
        <p:nvSpPr>
          <p:cNvPr id="15" name="Rectangle 14"/>
          <p:cNvSpPr/>
          <p:nvPr userDrawn="1"/>
        </p:nvSpPr>
        <p:spPr>
          <a:xfrm>
            <a:off x="13113834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 smtClean="0">
                <a:solidFill>
                  <a:srgbClr val="FE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FE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28981" y="1436370"/>
            <a:ext cx="10502899" cy="86296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1pPr>
            <a:lvl2pPr marL="428624" indent="0">
              <a:buNone/>
              <a:defRPr sz="3000" b="1">
                <a:solidFill>
                  <a:schemeClr val="bg1"/>
                </a:solidFill>
              </a:defRPr>
            </a:lvl2pPr>
            <a:lvl3pPr marL="857250" indent="0">
              <a:buNone/>
              <a:defRPr sz="3000" b="1">
                <a:solidFill>
                  <a:schemeClr val="bg1"/>
                </a:solidFill>
              </a:defRPr>
            </a:lvl3pPr>
            <a:lvl4pPr marL="1285876" indent="0">
              <a:buNone/>
              <a:defRPr sz="3000" b="1">
                <a:solidFill>
                  <a:schemeClr val="bg1"/>
                </a:solidFill>
              </a:defRPr>
            </a:lvl4pPr>
            <a:lvl5pPr marL="17278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subsection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2369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ure (option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 userDrawn="1"/>
        </p:nvSpPr>
        <p:spPr>
          <a:xfrm>
            <a:off x="-20320" y="-33332"/>
            <a:ext cx="14650720" cy="8262932"/>
          </a:xfrm>
          <a:prstGeom prst="rect">
            <a:avLst/>
          </a:prstGeom>
          <a:solidFill>
            <a:srgbClr val="E6E6E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3120" dirty="0">
              <a:solidFill>
                <a:srgbClr val="000000"/>
              </a:solidFill>
            </a:endParaRPr>
          </a:p>
        </p:txBody>
      </p:sp>
      <p:sp>
        <p:nvSpPr>
          <p:cNvPr id="6" name="CuadroTexto 5"/>
          <p:cNvSpPr txBox="1"/>
          <p:nvPr userDrawn="1"/>
        </p:nvSpPr>
        <p:spPr>
          <a:xfrm>
            <a:off x="5202941" y="3810103"/>
            <a:ext cx="4224518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3240" b="1" dirty="0">
                <a:solidFill>
                  <a:srgbClr val="F40009"/>
                </a:solidFill>
                <a:ea typeface="ＭＳ Ｐゴシック" charset="0"/>
              </a:rPr>
              <a:t>Thank you!</a:t>
            </a:r>
          </a:p>
        </p:txBody>
      </p:sp>
      <p:pic>
        <p:nvPicPr>
          <p:cNvPr id="9" name="Imagen 8" descr="logo_rojo_positivo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5406" y="6975076"/>
            <a:ext cx="3219592" cy="941981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13113834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 smtClean="0">
                <a:solidFill>
                  <a:srgbClr val="C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5503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0" descr="logo_rojo_positivo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9399" y="601686"/>
            <a:ext cx="3184677" cy="931765"/>
          </a:xfrm>
          <a:prstGeom prst="rect">
            <a:avLst/>
          </a:prstGeom>
        </p:spPr>
      </p:pic>
      <p:sp>
        <p:nvSpPr>
          <p:cNvPr id="14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46004" y="416065"/>
            <a:ext cx="4592037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Presentation</a:t>
            </a:r>
            <a:endParaRPr lang="es-ES" dirty="0"/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45160" y="1101090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endParaRPr lang="es-ES" dirty="0"/>
          </a:p>
        </p:txBody>
      </p:sp>
      <p:sp>
        <p:nvSpPr>
          <p:cNvPr id="18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646003" y="7354241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rgbClr val="F4000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Date</a:t>
            </a:r>
          </a:p>
        </p:txBody>
      </p:sp>
      <p:sp>
        <p:nvSpPr>
          <p:cNvPr id="9" name="Rectángulo 8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Lippincot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ibbon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  <p:pic>
        <p:nvPicPr>
          <p:cNvPr id="10" name="Imagen 9" descr="Lippincot_rojo2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205960"/>
            <a:ext cx="14630400" cy="2837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4846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/>
          <p:cNvSpPr/>
          <p:nvPr userDrawn="1"/>
        </p:nvSpPr>
        <p:spPr>
          <a:xfrm>
            <a:off x="1" y="0"/>
            <a:ext cx="14652210" cy="8229600"/>
          </a:xfrm>
          <a:prstGeom prst="rect">
            <a:avLst/>
          </a:prstGeom>
          <a:solidFill>
            <a:srgbClr val="EE000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white"/>
              </a:solidFill>
            </a:endParaRPr>
          </a:p>
        </p:txBody>
      </p:sp>
      <p:sp>
        <p:nvSpPr>
          <p:cNvPr id="10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46004" y="416065"/>
            <a:ext cx="4592037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r>
              <a:rPr lang="es-ES_tradnl" dirty="0"/>
              <a:t> </a:t>
            </a:r>
            <a:r>
              <a:rPr lang="es-ES_tradnl" dirty="0" err="1"/>
              <a:t>Presentation</a:t>
            </a:r>
            <a:endParaRPr lang="es-ES" dirty="0"/>
          </a:p>
        </p:txBody>
      </p:sp>
      <p:sp>
        <p:nvSpPr>
          <p:cNvPr id="11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45160" y="1101090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Presentation</a:t>
            </a:r>
            <a:endParaRPr lang="es-ES" dirty="0"/>
          </a:p>
        </p:txBody>
      </p:sp>
      <p:sp>
        <p:nvSpPr>
          <p:cNvPr id="12" name="Marcador de contenido 2"/>
          <p:cNvSpPr>
            <a:spLocks noGrp="1"/>
          </p:cNvSpPr>
          <p:nvPr>
            <p:ph sz="quarter" idx="12" hasCustomPrompt="1"/>
          </p:nvPr>
        </p:nvSpPr>
        <p:spPr>
          <a:xfrm>
            <a:off x="646003" y="7354241"/>
            <a:ext cx="4592320" cy="28765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56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Date</a:t>
            </a:r>
          </a:p>
        </p:txBody>
      </p:sp>
      <p:pic>
        <p:nvPicPr>
          <p:cNvPr id="14" name="Imagen 13" descr="logo_blanc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7290" y="612986"/>
            <a:ext cx="3026786" cy="890657"/>
          </a:xfrm>
          <a:prstGeom prst="rect">
            <a:avLst/>
          </a:prstGeom>
        </p:spPr>
      </p:pic>
      <p:pic>
        <p:nvPicPr>
          <p:cNvPr id="18" name="Imagen 17" descr="foto1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6814" y="1550866"/>
            <a:ext cx="14761792" cy="9943708"/>
          </a:xfrm>
          <a:prstGeom prst="rect">
            <a:avLst/>
          </a:prstGeom>
        </p:spPr>
      </p:pic>
      <p:sp>
        <p:nvSpPr>
          <p:cNvPr id="17" name="Rectángulo 16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Lippincot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ibbon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  <p:pic>
        <p:nvPicPr>
          <p:cNvPr id="4" name="Imagen 3" descr="Lippincot_blanco2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6814" y="1514978"/>
            <a:ext cx="14745600" cy="285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34642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843" y="274300"/>
            <a:ext cx="2286795" cy="669065"/>
          </a:xfrm>
          <a:prstGeom prst="rect">
            <a:avLst/>
          </a:prstGeom>
        </p:spPr>
      </p:pic>
      <p:sp>
        <p:nvSpPr>
          <p:cNvPr id="8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741" y="261177"/>
            <a:ext cx="10137139" cy="103441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es-ES" sz="2880" b="1" kern="1200" dirty="0">
                <a:solidFill>
                  <a:srgbClr val="EC2024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28" name="Marcador de posición de imagen 25"/>
          <p:cNvSpPr>
            <a:spLocks noGrp="1"/>
          </p:cNvSpPr>
          <p:nvPr>
            <p:ph type="pic" sz="quarter" idx="13" hasCustomPrompt="1"/>
          </p:nvPr>
        </p:nvSpPr>
        <p:spPr>
          <a:xfrm>
            <a:off x="8575040" y="1455421"/>
            <a:ext cx="5039360" cy="262509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/>
            </a:lvl1pPr>
          </a:lstStyle>
          <a:p>
            <a:r>
              <a:rPr lang="es-ES" dirty="0" err="1"/>
              <a:t>Image</a:t>
            </a:r>
            <a:endParaRPr lang="es-ES" dirty="0"/>
          </a:p>
        </p:txBody>
      </p:sp>
      <p:sp>
        <p:nvSpPr>
          <p:cNvPr id="42" name="Marcador de contenido 41"/>
          <p:cNvSpPr>
            <a:spLocks noGrp="1"/>
          </p:cNvSpPr>
          <p:nvPr>
            <p:ph sz="quarter" idx="16" hasCustomPrompt="1"/>
          </p:nvPr>
        </p:nvSpPr>
        <p:spPr>
          <a:xfrm>
            <a:off x="713742" y="1455420"/>
            <a:ext cx="6578600" cy="8896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 b="1" baseline="0">
                <a:latin typeface="Arial"/>
                <a:cs typeface="Arial"/>
              </a:defRPr>
            </a:lvl1pPr>
          </a:lstStyle>
          <a:p>
            <a:pPr marL="0" marR="0" lvl="0" indent="0" algn="l" defTabSz="5486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s-ES" dirty="0" err="1"/>
              <a:t>Highlite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44" name="Marcador de contenido 43"/>
          <p:cNvSpPr>
            <a:spLocks noGrp="1"/>
          </p:cNvSpPr>
          <p:nvPr>
            <p:ph sz="quarter" idx="17" hasCustomPrompt="1"/>
          </p:nvPr>
        </p:nvSpPr>
        <p:spPr>
          <a:xfrm>
            <a:off x="713742" y="2489836"/>
            <a:ext cx="6578600" cy="5224088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Copy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45" name="Marcador de contenido 43"/>
          <p:cNvSpPr>
            <a:spLocks noGrp="1"/>
          </p:cNvSpPr>
          <p:nvPr>
            <p:ph sz="quarter" idx="18" hasCustomPrompt="1"/>
          </p:nvPr>
        </p:nvSpPr>
        <p:spPr>
          <a:xfrm>
            <a:off x="8575041" y="4242437"/>
            <a:ext cx="5521960" cy="83756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Copy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46" name="Marcador de contenido 43"/>
          <p:cNvSpPr>
            <a:spLocks noGrp="1"/>
          </p:cNvSpPr>
          <p:nvPr>
            <p:ph sz="quarter" idx="19" hasCustomPrompt="1"/>
          </p:nvPr>
        </p:nvSpPr>
        <p:spPr>
          <a:xfrm>
            <a:off x="9155291" y="5241503"/>
            <a:ext cx="4941710" cy="1870498"/>
          </a:xfrm>
          <a:prstGeom prst="rect">
            <a:avLst/>
          </a:prstGeom>
        </p:spPr>
        <p:txBody>
          <a:bodyPr vert="horz"/>
          <a:lstStyle>
            <a:lvl1pPr marL="205740" indent="-205740">
              <a:buFont typeface="Arial"/>
              <a:buChar char="•"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Bullets</a:t>
            </a:r>
            <a:endParaRPr lang="es-ES" dirty="0"/>
          </a:p>
          <a:p>
            <a:pPr lvl="0"/>
            <a:r>
              <a:rPr lang="es-ES" dirty="0" err="1"/>
              <a:t>Bullets</a:t>
            </a:r>
            <a:endParaRPr lang="es-ES" dirty="0"/>
          </a:p>
          <a:p>
            <a:pPr lvl="0"/>
            <a:r>
              <a:rPr lang="es-ES" dirty="0" err="1"/>
              <a:t>Buellets</a:t>
            </a:r>
            <a:endParaRPr lang="es-ES" dirty="0"/>
          </a:p>
        </p:txBody>
      </p:sp>
      <p:sp>
        <p:nvSpPr>
          <p:cNvPr id="11" name="Rectángulo 10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Lippincot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ibbon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4241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n 20" descr="logo_rojo_positivo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3843" y="274300"/>
            <a:ext cx="2286795" cy="669065"/>
          </a:xfrm>
          <a:prstGeom prst="rect">
            <a:avLst/>
          </a:prstGeom>
        </p:spPr>
      </p:pic>
      <p:sp>
        <p:nvSpPr>
          <p:cNvPr id="8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741" y="261177"/>
            <a:ext cx="9893299" cy="1034414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lang="es-ES" sz="2880" b="1" kern="1200" dirty="0">
                <a:solidFill>
                  <a:srgbClr val="EC2024"/>
                </a:solidFill>
                <a:latin typeface="Arial"/>
                <a:ea typeface="ＭＳ Ｐゴシック" charset="0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420560915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 userDrawn="1"/>
        </p:nvSpPr>
        <p:spPr>
          <a:xfrm>
            <a:off x="0" y="-5896"/>
            <a:ext cx="14630400" cy="1230960"/>
          </a:xfrm>
          <a:prstGeom prst="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white"/>
              </a:solidFill>
            </a:endParaRPr>
          </a:p>
        </p:txBody>
      </p:sp>
      <p:sp>
        <p:nvSpPr>
          <p:cNvPr id="9" name="Marcador de contenido 43"/>
          <p:cNvSpPr>
            <a:spLocks noGrp="1"/>
          </p:cNvSpPr>
          <p:nvPr>
            <p:ph sz="quarter" idx="17" hasCustomPrompt="1"/>
          </p:nvPr>
        </p:nvSpPr>
        <p:spPr>
          <a:xfrm>
            <a:off x="713742" y="2489836"/>
            <a:ext cx="12968392" cy="5087831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>
                <a:latin typeface="Arial"/>
                <a:cs typeface="Arial"/>
              </a:defRPr>
            </a:lvl1pPr>
          </a:lstStyle>
          <a:p>
            <a:pPr lvl="0"/>
            <a:r>
              <a:rPr lang="es-ES" dirty="0" err="1"/>
              <a:t>Copy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5" name="Marcador de contenido 41"/>
          <p:cNvSpPr>
            <a:spLocks noGrp="1"/>
          </p:cNvSpPr>
          <p:nvPr>
            <p:ph sz="quarter" idx="16" hasCustomPrompt="1"/>
          </p:nvPr>
        </p:nvSpPr>
        <p:spPr>
          <a:xfrm>
            <a:off x="713742" y="1455420"/>
            <a:ext cx="12968392" cy="88963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40" b="1" baseline="0">
                <a:latin typeface="Arial"/>
                <a:cs typeface="Arial"/>
              </a:defRPr>
            </a:lvl1pPr>
          </a:lstStyle>
          <a:p>
            <a:pPr marL="0" marR="0" lvl="0" indent="0" algn="l" defTabSz="54864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s-ES" dirty="0" err="1"/>
              <a:t>Highlited</a:t>
            </a:r>
            <a:r>
              <a:rPr lang="es-ES" dirty="0"/>
              <a:t> </a:t>
            </a:r>
            <a:r>
              <a:rPr lang="es-ES" dirty="0" err="1"/>
              <a:t>text</a:t>
            </a:r>
            <a:endParaRPr lang="es-ES" dirty="0"/>
          </a:p>
        </p:txBody>
      </p:sp>
      <p:sp>
        <p:nvSpPr>
          <p:cNvPr id="16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713741" y="261177"/>
            <a:ext cx="9893299" cy="826547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0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  <p:pic>
        <p:nvPicPr>
          <p:cNvPr id="11" name="Imagen 10" descr="logo_blanc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1112" y="316651"/>
            <a:ext cx="2304298" cy="678059"/>
          </a:xfrm>
          <a:prstGeom prst="rect">
            <a:avLst/>
          </a:prstGeom>
        </p:spPr>
      </p:pic>
      <p:sp>
        <p:nvSpPr>
          <p:cNvPr id="12" name="Rectángulo 11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““Coca-Cola” and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Lippincot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ibbon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40009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40009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38657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ángulo 6"/>
          <p:cNvSpPr/>
          <p:nvPr userDrawn="1"/>
        </p:nvSpPr>
        <p:spPr>
          <a:xfrm>
            <a:off x="-33346" y="-33332"/>
            <a:ext cx="14650720" cy="8262932"/>
          </a:xfrm>
          <a:prstGeom prst="rect">
            <a:avLst/>
          </a:prstGeom>
          <a:solidFill>
            <a:srgbClr val="EE000B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white"/>
              </a:solidFill>
            </a:endParaRPr>
          </a:p>
        </p:txBody>
      </p:sp>
      <p:sp>
        <p:nvSpPr>
          <p:cNvPr id="13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587011" y="723530"/>
            <a:ext cx="10141949" cy="62053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14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32170" y="2010738"/>
            <a:ext cx="5925821" cy="2691766"/>
          </a:xfrm>
          <a:prstGeom prst="rect">
            <a:avLst/>
          </a:prstGeom>
        </p:spPr>
        <p:txBody>
          <a:bodyPr vert="horz"/>
          <a:lstStyle>
            <a:lvl1pPr marL="411480" indent="-411480">
              <a:buFont typeface="+mj-lt"/>
              <a:buAutoNum type="arabicPeriod"/>
              <a:defRPr sz="156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 marL="1165860" indent="-617220">
              <a:buFont typeface="+mj-lt"/>
              <a:buAutoNum type="romanLcPeriod"/>
              <a:defRPr sz="1560">
                <a:solidFill>
                  <a:srgbClr val="FFFFFF"/>
                </a:solidFill>
                <a:latin typeface="Arial"/>
                <a:cs typeface="Arial"/>
              </a:defRPr>
            </a:lvl2pPr>
          </a:lstStyle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1"/>
            <a:r>
              <a:rPr lang="es-ES" dirty="0" err="1"/>
              <a:t>Sub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1"/>
            <a:r>
              <a:rPr lang="es-ES" dirty="0" err="1"/>
              <a:t>Sub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1"/>
            <a:r>
              <a:rPr lang="es-ES" dirty="0" err="1"/>
              <a:t>Sub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  <a:p>
            <a:pPr lvl="0"/>
            <a:r>
              <a:rPr lang="es-ES" dirty="0" err="1"/>
              <a:t>Section</a:t>
            </a:r>
            <a:r>
              <a:rPr lang="es-ES" dirty="0"/>
              <a:t> </a:t>
            </a:r>
            <a:r>
              <a:rPr lang="es-ES" dirty="0" err="1"/>
              <a:t>Title</a:t>
            </a:r>
            <a:endParaRPr lang="es-ES" dirty="0"/>
          </a:p>
        </p:txBody>
      </p:sp>
      <p:pic>
        <p:nvPicPr>
          <p:cNvPr id="12" name="Imagen 11" descr="logo_blanco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22667" y="469051"/>
            <a:ext cx="2304298" cy="678059"/>
          </a:xfrm>
          <a:prstGeom prst="rect">
            <a:avLst/>
          </a:prstGeom>
        </p:spPr>
      </p:pic>
      <p:sp>
        <p:nvSpPr>
          <p:cNvPr id="9" name="Rectángulo 8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““Coca-Cola”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prstClr val="white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01159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 userDrawn="1"/>
        </p:nvSpPr>
        <p:spPr>
          <a:xfrm>
            <a:off x="-33346" y="-33332"/>
            <a:ext cx="14650720" cy="82629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" sz="3120">
              <a:solidFill>
                <a:prstClr val="black"/>
              </a:solidFill>
            </a:endParaRPr>
          </a:p>
        </p:txBody>
      </p:sp>
      <p:pic>
        <p:nvPicPr>
          <p:cNvPr id="11" name="Imagen 10" descr="logo_negro_negativo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04586" y="432704"/>
            <a:ext cx="2713853" cy="1049873"/>
          </a:xfrm>
          <a:prstGeom prst="rect">
            <a:avLst/>
          </a:prstGeom>
        </p:spPr>
      </p:pic>
      <p:sp>
        <p:nvSpPr>
          <p:cNvPr id="13" name="Marcador de texto 7"/>
          <p:cNvSpPr>
            <a:spLocks noGrp="1"/>
          </p:cNvSpPr>
          <p:nvPr>
            <p:ph type="body" sz="quarter" idx="10" hasCustomPrompt="1"/>
          </p:nvPr>
        </p:nvSpPr>
        <p:spPr>
          <a:xfrm>
            <a:off x="634720" y="1634272"/>
            <a:ext cx="10094240" cy="52373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3240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_tradnl" dirty="0" err="1"/>
              <a:t>Sec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" dirty="0"/>
          </a:p>
        </p:txBody>
      </p:sp>
      <p:sp>
        <p:nvSpPr>
          <p:cNvPr id="15" name="Marcador de contenido 2"/>
          <p:cNvSpPr>
            <a:spLocks noGrp="1"/>
          </p:cNvSpPr>
          <p:nvPr>
            <p:ph sz="quarter" idx="11" hasCustomPrompt="1"/>
          </p:nvPr>
        </p:nvSpPr>
        <p:spPr>
          <a:xfrm>
            <a:off x="624840" y="212289"/>
            <a:ext cx="2140938" cy="127783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6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s-ES" dirty="0"/>
              <a:t>01</a:t>
            </a:r>
          </a:p>
        </p:txBody>
      </p:sp>
      <p:pic>
        <p:nvPicPr>
          <p:cNvPr id="3" name="Imagen 2" descr="foto2B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4968" y="2819160"/>
            <a:ext cx="14745600" cy="9932800"/>
          </a:xfrm>
          <a:prstGeom prst="rect">
            <a:avLst/>
          </a:prstGeom>
        </p:spPr>
      </p:pic>
      <p:sp>
        <p:nvSpPr>
          <p:cNvPr id="10" name="Rectángulo 9"/>
          <p:cNvSpPr/>
          <p:nvPr userDrawn="1"/>
        </p:nvSpPr>
        <p:spPr>
          <a:xfrm>
            <a:off x="624838" y="7725569"/>
            <a:ext cx="73152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““Coca-Cola” and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Lippincot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Ribbon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is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a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registered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trademark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of </a:t>
            </a:r>
            <a:r>
              <a:rPr lang="es-ES" sz="6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the</a:t>
            </a:r>
            <a:r>
              <a:rPr lang="es-E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Coca-Cola Company”</a:t>
            </a:r>
            <a:endParaRPr lang="es-ES" sz="600" dirty="0">
              <a:solidFill>
                <a:srgbClr val="FFFFFF"/>
              </a:solidFill>
              <a:ea typeface="ＭＳ Ｐゴシック" charset="0"/>
            </a:endParaRPr>
          </a:p>
        </p:txBody>
      </p:sp>
      <p:pic>
        <p:nvPicPr>
          <p:cNvPr id="8" name="Imagen 7" descr="Lippincot_blanco2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3238" y="2781413"/>
            <a:ext cx="14745600" cy="2859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423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slideLayout" Target="../slideLayouts/slideLayout52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slideLayout" Target="../slideLayouts/slideLayout51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slideLayout" Target="../slideLayouts/slideLayout50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slideLayout" Target="../slideLayouts/slideLayout4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oleObject" Target="../embeddings/oleObject4.bin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slideLayout" Target="../slideLayouts/slideLayout124.xml"/><Relationship Id="rId26" Type="http://schemas.openxmlformats.org/officeDocument/2006/relationships/slideLayout" Target="../slideLayouts/slideLayout132.xml"/><Relationship Id="rId39" Type="http://schemas.openxmlformats.org/officeDocument/2006/relationships/image" Target="../media/image2.emf"/><Relationship Id="rId3" Type="http://schemas.openxmlformats.org/officeDocument/2006/relationships/slideLayout" Target="../slideLayouts/slideLayout109.xml"/><Relationship Id="rId21" Type="http://schemas.openxmlformats.org/officeDocument/2006/relationships/slideLayout" Target="../slideLayouts/slideLayout127.xml"/><Relationship Id="rId34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slideLayout" Target="../slideLayouts/slideLayout123.xml"/><Relationship Id="rId25" Type="http://schemas.openxmlformats.org/officeDocument/2006/relationships/slideLayout" Target="../slideLayouts/slideLayout131.xml"/><Relationship Id="rId33" Type="http://schemas.openxmlformats.org/officeDocument/2006/relationships/slideLayout" Target="../slideLayouts/slideLayout139.xml"/><Relationship Id="rId38" Type="http://schemas.openxmlformats.org/officeDocument/2006/relationships/oleObject" Target="../embeddings/oleObject30.bin"/><Relationship Id="rId2" Type="http://schemas.openxmlformats.org/officeDocument/2006/relationships/slideLayout" Target="../slideLayouts/slideLayout108.xml"/><Relationship Id="rId16" Type="http://schemas.openxmlformats.org/officeDocument/2006/relationships/slideLayout" Target="../slideLayouts/slideLayout122.xml"/><Relationship Id="rId20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24" Type="http://schemas.openxmlformats.org/officeDocument/2006/relationships/slideLayout" Target="../slideLayouts/slideLayout130.xml"/><Relationship Id="rId32" Type="http://schemas.openxmlformats.org/officeDocument/2006/relationships/slideLayout" Target="../slideLayouts/slideLayout138.xml"/><Relationship Id="rId37" Type="http://schemas.openxmlformats.org/officeDocument/2006/relationships/tags" Target="../tags/tag32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slideLayout" Target="../slideLayouts/slideLayout129.xml"/><Relationship Id="rId28" Type="http://schemas.openxmlformats.org/officeDocument/2006/relationships/slideLayout" Target="../slideLayouts/slideLayout134.xml"/><Relationship Id="rId36" Type="http://schemas.openxmlformats.org/officeDocument/2006/relationships/vmlDrawing" Target="../drawings/vmlDrawing32.vml"/><Relationship Id="rId10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125.xml"/><Relationship Id="rId31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slideLayout" Target="../slideLayouts/slideLayout128.xml"/><Relationship Id="rId27" Type="http://schemas.openxmlformats.org/officeDocument/2006/relationships/slideLayout" Target="../slideLayouts/slideLayout133.xml"/><Relationship Id="rId30" Type="http://schemas.openxmlformats.org/officeDocument/2006/relationships/slideLayout" Target="../slideLayouts/slideLayout136.xml"/><Relationship Id="rId35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3.xml"/><Relationship Id="rId7" Type="http://schemas.openxmlformats.org/officeDocument/2006/relationships/image" Target="../media/image55.jpeg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4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65.v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60.emf"/><Relationship Id="rId5" Type="http://schemas.openxmlformats.org/officeDocument/2006/relationships/oleObject" Target="../embeddings/oleObject62.bin"/><Relationship Id="rId4" Type="http://schemas.openxmlformats.org/officeDocument/2006/relationships/tags" Target="../tags/tag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E83D9A-87F9-4FE7-9AB0-55298BF12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5840" y="438152"/>
            <a:ext cx="12618720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5C39CE-2D52-44A4-814F-04580AC9DD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5840" y="2190750"/>
            <a:ext cx="12618720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9040F8-2B99-4736-830B-B39F301E80F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5840" y="7627622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6D1E81-D420-4D94-A696-B298487931D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8/11/2019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FBFB13-252F-42DF-ABF7-339526141B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46320" y="7627622"/>
            <a:ext cx="49377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270638-697A-46E0-AFC5-4FB0D6ADB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2720" y="7627622"/>
            <a:ext cx="329184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8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FD5564-E1AA-4AA1-A78E-B25E75BB196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43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829" r:id="rId13"/>
  </p:sldLayoutIdLst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40" indent="-205740" algn="l" defTabSz="82296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2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7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6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58955E-FA42-DB42-8E17-825FC50E1D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898880" y="7583424"/>
            <a:ext cx="512064" cy="438912"/>
          </a:xfrm>
          <a:prstGeom prst="rect">
            <a:avLst/>
          </a:prstGeom>
          <a:ln>
            <a:solidFill>
              <a:srgbClr val="E21F2C"/>
            </a:solidFill>
            <a:prstDash val="sysDot"/>
          </a:ln>
        </p:spPr>
        <p:txBody>
          <a:bodyPr vert="horz" lIns="91440" tIns="45720" rIns="91440" bIns="45720" rtlCol="0" anchor="ctr"/>
          <a:lstStyle>
            <a:lvl1pPr algn="ctr">
              <a:defRPr sz="1080">
                <a:solidFill>
                  <a:schemeClr val="tx1"/>
                </a:solidFill>
              </a:defRPr>
            </a:lvl1pPr>
          </a:lstStyle>
          <a:p>
            <a:fld id="{43F496C9-0AD9-C24F-92EB-2D26D61C9EC0}" type="slidenum">
              <a:rPr lang="nl-NL" smtClean="0"/>
              <a:pPr/>
              <a:t>‹#›</a:t>
            </a:fld>
            <a:endParaRPr lang="nl-NL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F7691A1B-3950-DB41-AD67-D167053EA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0902" y="1485556"/>
            <a:ext cx="12618720" cy="15906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fr-FR"/>
              <a:t>Modifiez le style du titre</a:t>
            </a:r>
            <a:endParaRPr lang="nl-NL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230E098-96DC-FE42-9407-19B4C72B5F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05840" y="3441469"/>
            <a:ext cx="12618720" cy="39708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nl-NL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009014E-F296-7C40-86D6-2181438186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155683" y="7604070"/>
            <a:ext cx="2651758" cy="396932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1080">
                <a:solidFill>
                  <a:schemeClr val="accent6"/>
                </a:solidFill>
              </a:defRPr>
            </a:lvl1pPr>
          </a:lstStyle>
          <a:p>
            <a:r>
              <a:rPr lang="nl-NL" dirty="0"/>
              <a:t>GREAT FINANCE MEETING</a:t>
            </a:r>
          </a:p>
        </p:txBody>
      </p:sp>
    </p:spTree>
    <p:extLst>
      <p:ext uri="{BB962C8B-B14F-4D97-AF65-F5344CB8AC3E}">
        <p14:creationId xmlns:p14="http://schemas.microsoft.com/office/powerpoint/2010/main" val="1144664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710" r:id="rId18"/>
    <p:sldLayoutId id="2147483711" r:id="rId19"/>
    <p:sldLayoutId id="2147483712" r:id="rId20"/>
    <p:sldLayoutId id="2147483713" r:id="rId21"/>
    <p:sldLayoutId id="2147483714" r:id="rId22"/>
    <p:sldLayoutId id="2147483715" r:id="rId23"/>
    <p:sldLayoutId id="2147483716" r:id="rId24"/>
    <p:sldLayoutId id="2147483717" r:id="rId25"/>
    <p:sldLayoutId id="2147483718" r:id="rId26"/>
    <p:sldLayoutId id="2147483719" r:id="rId27"/>
    <p:sldLayoutId id="2147483720" r:id="rId28"/>
    <p:sldLayoutId id="2147483721" r:id="rId29"/>
    <p:sldLayoutId id="2147483722" r:id="rId30"/>
    <p:sldLayoutId id="2147483723" r:id="rId31"/>
    <p:sldLayoutId id="2147483724" r:id="rId32"/>
    <p:sldLayoutId id="2147483725" r:id="rId33"/>
    <p:sldLayoutId id="2147483726" r:id="rId34"/>
    <p:sldLayoutId id="2147483727" r:id="rId35"/>
    <p:sldLayoutId id="2147483728" r:id="rId36"/>
    <p:sldLayoutId id="2147483729" r:id="rId37"/>
    <p:sldLayoutId id="2147483730" r:id="rId38"/>
    <p:sldLayoutId id="2147483731" r:id="rId39"/>
  </p:sldLayoutIdLst>
  <p:hf hdr="0" ftr="0" dt="0"/>
  <p:txStyles>
    <p:titleStyle>
      <a:lvl1pPr algn="l" defTabSz="822960" rtl="0" eaLnBrk="1" latinLnBrk="0" hangingPunct="1">
        <a:lnSpc>
          <a:spcPct val="90000"/>
        </a:lnSpc>
        <a:spcBef>
          <a:spcPct val="0"/>
        </a:spcBef>
        <a:buNone/>
        <a:defRPr sz="396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82296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2520" kern="1200">
          <a:solidFill>
            <a:schemeClr val="accent4">
              <a:lumMod val="75000"/>
            </a:schemeClr>
          </a:solidFill>
          <a:latin typeface="+mn-lt"/>
          <a:ea typeface="+mn-ea"/>
          <a:cs typeface="+mn-cs"/>
        </a:defRPr>
      </a:lvl1pPr>
      <a:lvl2pPr marL="411480" indent="0" algn="l" defTabSz="82296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None/>
        <a:defRPr sz="216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0" algn="l" defTabSz="82296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None/>
        <a:defRPr sz="1800" kern="1200">
          <a:solidFill>
            <a:schemeClr val="accent4">
              <a:lumMod val="50000"/>
            </a:schemeClr>
          </a:solidFill>
          <a:latin typeface="+mn-lt"/>
          <a:ea typeface="+mn-ea"/>
          <a:cs typeface="+mn-cs"/>
        </a:defRPr>
      </a:lvl3pPr>
      <a:lvl4pPr marL="1234440" indent="0" algn="l" defTabSz="82296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None/>
        <a:defRPr sz="1620" b="1" kern="1200">
          <a:solidFill>
            <a:schemeClr val="accent6"/>
          </a:solidFill>
          <a:latin typeface="+mn-lt"/>
          <a:ea typeface="+mn-ea"/>
          <a:cs typeface="+mn-cs"/>
        </a:defRPr>
      </a:lvl4pPr>
      <a:lvl5pPr marL="1645920" indent="0" algn="l" defTabSz="822960" rtl="0" eaLnBrk="1" latinLnBrk="0" hangingPunct="1">
        <a:lnSpc>
          <a:spcPct val="100000"/>
        </a:lnSpc>
        <a:spcBef>
          <a:spcPts val="450"/>
        </a:spcBef>
        <a:buFont typeface="Arial" panose="020B0604020202020204" pitchFamily="34" charset="0"/>
        <a:buNone/>
        <a:defRPr sz="1620" kern="1200">
          <a:solidFill>
            <a:schemeClr val="accent4">
              <a:lumMod val="50000"/>
            </a:schemeClr>
          </a:solidFill>
          <a:latin typeface="+mn-lt"/>
          <a:ea typeface="+mn-ea"/>
          <a:cs typeface="+mn-cs"/>
        </a:defRPr>
      </a:lvl5pPr>
      <a:lvl6pPr marL="226314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62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10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580" indent="-205740" algn="l" defTabSz="82296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40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8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36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840" algn="l" defTabSz="82296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6159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</p:sldLayoutIdLst>
  <p:txStyles>
    <p:titleStyle>
      <a:lvl1pPr algn="ctr" defTabSz="548640" rtl="0" eaLnBrk="1" fontAlgn="base" hangingPunct="1">
        <a:spcBef>
          <a:spcPct val="0"/>
        </a:spcBef>
        <a:spcAft>
          <a:spcPct val="0"/>
        </a:spcAft>
        <a:defRPr sz="528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54864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109728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64592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219456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411480" indent="-41148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84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891540" indent="-34290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36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371600" indent="-27432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8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20240" indent="-27432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468880" indent="-27432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2542" y="190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32" imgW="492" imgH="493" progId="TCLayout.ActiveDocument.1">
                  <p:embed/>
                </p:oleObj>
              </mc:Choice>
              <mc:Fallback>
                <p:oleObj name="think-cell Slide" r:id="rId32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542" y="190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31520" y="7563804"/>
            <a:ext cx="12507270" cy="48291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8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dirty="0">
                <a:solidFill>
                  <a:srgbClr val="000000">
                    <a:lumMod val="50000"/>
                    <a:lumOff val="50000"/>
                  </a:srgbClr>
                </a:solidFill>
                <a:ea typeface="ＭＳ Ｐゴシック" charset="0"/>
              </a:rPr>
              <a:t>1. XXX  2. XXX  3. XXX  Source: XXX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731521" y="1436370"/>
            <a:ext cx="13172440" cy="61253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731521" y="139066"/>
            <a:ext cx="10500360" cy="95059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13113834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 smtClean="0">
                <a:solidFill>
                  <a:srgbClr val="000000">
                    <a:lumMod val="50000"/>
                    <a:lumOff val="50000"/>
                  </a:srgbClr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446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  <p:sldLayoutId id="2147483771" r:id="rId26"/>
    <p:sldLayoutId id="2147483772" r:id="rId27"/>
    <p:sldLayoutId id="2147483773" r:id="rId28"/>
  </p:sldLayoutIdLst>
  <p:hf sldNum="0" hdr="0" dt="0"/>
  <p:txStyles>
    <p:titleStyle>
      <a:lvl1pPr marL="0" indent="0" algn="l" defTabSz="548640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3000" kern="1200">
          <a:solidFill>
            <a:srgbClr val="F40009"/>
          </a:solidFill>
          <a:latin typeface="+mj-lt"/>
          <a:ea typeface="ＭＳ Ｐゴシック" charset="0"/>
          <a:cs typeface="ＭＳ Ｐゴシック" charset="0"/>
        </a:defRPr>
      </a:lvl1pPr>
      <a:lvl2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54864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109728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64592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219456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411480" indent="-41148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n-US" sz="1680" kern="1200" dirty="0" smtClean="0">
          <a:solidFill>
            <a:schemeClr val="tx1"/>
          </a:solidFill>
          <a:latin typeface="+mn-lt"/>
          <a:ea typeface="ＭＳ Ｐゴシック" charset="0"/>
          <a:cs typeface="Arial"/>
        </a:defRPr>
      </a:lvl1pPr>
      <a:lvl2pPr marL="857250" indent="-428626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85876" indent="-428626" algn="l" defTabSz="548640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727836" indent="-441960" algn="l" defTabSz="548640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156460" indent="-428626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5">
          <p15:clr>
            <a:srgbClr val="F26B43"/>
          </p15:clr>
        </p15:guide>
        <p15:guide id="2" pos="5474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orient="horz" pos="572">
          <p15:clr>
            <a:srgbClr val="F26B43"/>
          </p15:clr>
        </p15:guide>
        <p15:guide id="6" orient="horz" pos="73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pos="4422">
          <p15:clr>
            <a:srgbClr val="F26B43"/>
          </p15:clr>
        </p15:guide>
        <p15:guide id="9" orient="horz" pos="1207">
          <p15:clr>
            <a:srgbClr val="F26B43"/>
          </p15:clr>
        </p15:guide>
        <p15:guide id="10" orient="horz" pos="2319">
          <p15:clr>
            <a:srgbClr val="000000"/>
          </p15:clr>
        </p15:guide>
        <p15:guide id="11" orient="horz" pos="2409">
          <p15:clr>
            <a:srgbClr val="000000"/>
          </p15:clr>
        </p15:guide>
        <p15:guide id="12" orient="horz" pos="2863">
          <p15:clr>
            <a:srgbClr val="F26B43"/>
          </p15:clr>
        </p15:guide>
        <p15:guide id="13" pos="2045">
          <p15:clr>
            <a:srgbClr val="5ACBF0"/>
          </p15:clr>
        </p15:guide>
        <p15:guide id="14" pos="3714">
          <p15:clr>
            <a:srgbClr val="5ACBF0"/>
          </p15:clr>
        </p15:guide>
        <p15:guide id="15" pos="3806">
          <p15:clr>
            <a:srgbClr val="5ACBF0"/>
          </p15:clr>
        </p15:guide>
        <p15:guide id="16" pos="2835">
          <p15:clr>
            <a:srgbClr val="000000"/>
          </p15:clr>
        </p15:guide>
        <p15:guide id="17" pos="2925">
          <p15:clr>
            <a:srgbClr val="000000"/>
          </p15:clr>
        </p15:guide>
        <p15:guide id="18" pos="1605">
          <p15:clr>
            <a:srgbClr val="9FCC3B"/>
          </p15:clr>
        </p15:guide>
        <p15:guide id="19" pos="1514">
          <p15:clr>
            <a:srgbClr val="9FCC3B"/>
          </p15:clr>
        </p15:guide>
        <p15:guide id="20" pos="4155">
          <p15:clr>
            <a:srgbClr val="9FCC3B"/>
          </p15:clr>
        </p15:guide>
        <p15:guide id="21" pos="4245">
          <p15:clr>
            <a:srgbClr val="9FCC3B"/>
          </p15:clr>
        </p15:guide>
        <p15:guide id="22" pos="1955">
          <p15:clr>
            <a:srgbClr val="5ACBF0"/>
          </p15:clr>
        </p15:guide>
        <p15:guide id="23" orient="horz" pos="1767">
          <p15:clr>
            <a:srgbClr val="5ACBF0"/>
          </p15:clr>
        </p15:guide>
        <p15:guide id="24" orient="horz" pos="1859">
          <p15:clr>
            <a:srgbClr val="5ACBF0"/>
          </p15:clr>
        </p15:guide>
        <p15:guide id="25" orient="horz" pos="2964">
          <p15:clr>
            <a:srgbClr val="5ACBF0"/>
          </p15:clr>
        </p15:guide>
        <p15:guide id="26" orient="horz" pos="2873">
          <p15:clr>
            <a:srgbClr val="5ACBF0"/>
          </p15:clr>
        </p15:guide>
        <p15:guide id="27" orient="horz" pos="1490">
          <p15:clr>
            <a:srgbClr val="9FCC3B"/>
          </p15:clr>
        </p15:guide>
        <p15:guide id="28" orient="horz" pos="1581">
          <p15:clr>
            <a:srgbClr val="9FCC3B"/>
          </p15:clr>
        </p15:guide>
        <p15:guide id="29" orient="horz" pos="3146">
          <p15:clr>
            <a:srgbClr val="9FCC3B"/>
          </p15:clr>
        </p15:guide>
        <p15:guide id="30" orient="horz" pos="3237">
          <p15:clr>
            <a:srgbClr val="9FCC3B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5166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830" r:id="rId14"/>
  </p:sldLayoutIdLst>
  <p:txStyles>
    <p:titleStyle>
      <a:lvl1pPr algn="ctr" defTabSz="548640" rtl="0" eaLnBrk="1" fontAlgn="base" hangingPunct="1">
        <a:spcBef>
          <a:spcPct val="0"/>
        </a:spcBef>
        <a:spcAft>
          <a:spcPct val="0"/>
        </a:spcAft>
        <a:defRPr sz="528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54864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109728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64592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2194560" algn="ctr" defTabSz="548640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411480" indent="-41148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84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891540" indent="-34290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336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371600" indent="-27432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8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920240" indent="-27432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468880" indent="-274320" algn="l" defTabSz="54864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01752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54864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54864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2625" y="1946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38" imgW="492" imgH="493" progId="TCLayout.ActiveDocument.1">
                  <p:embed/>
                </p:oleObj>
              </mc:Choice>
              <mc:Fallback>
                <p:oleObj name="think-cell Slide" r:id="rId38" imgW="492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2625" y="1946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731520" y="7563963"/>
            <a:ext cx="12507270" cy="482917"/>
          </a:xfrm>
          <a:prstGeom prst="rect">
            <a:avLst/>
          </a:prstGeom>
        </p:spPr>
        <p:txBody>
          <a:bodyPr vert="horz" lIns="91295" tIns="45647" rIns="91295" bIns="45647" rtlCol="0" anchor="b"/>
          <a:lstStyle>
            <a:lvl1pPr algn="l">
              <a:defRPr sz="108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defTabSz="547783" fontAlgn="base">
              <a:spcBef>
                <a:spcPct val="0"/>
              </a:spcBef>
              <a:spcAft>
                <a:spcPct val="0"/>
              </a:spcAft>
            </a:pPr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  <a:ea typeface="ＭＳ Ｐゴシック" charset="0"/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  <a:ea typeface="ＭＳ Ｐゴシック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731537" y="1436375"/>
            <a:ext cx="13172440" cy="6125390"/>
          </a:xfrm>
          <a:prstGeom prst="rect">
            <a:avLst/>
          </a:prstGeom>
        </p:spPr>
        <p:txBody>
          <a:bodyPr vert="horz" lIns="91295" tIns="45647" rIns="91295" bIns="45647" rtlCol="0">
            <a:normAutofit/>
          </a:bodyPr>
          <a:lstStyle/>
          <a:p>
            <a:pPr lvl="0"/>
            <a:r>
              <a:rPr lang="en-GB" noProof="0" dirty="0"/>
              <a:t>Click to edit text in bullet point lis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731522" y="139077"/>
            <a:ext cx="10500360" cy="950596"/>
          </a:xfrm>
          <a:prstGeom prst="rect">
            <a:avLst/>
          </a:prstGeom>
        </p:spPr>
        <p:txBody>
          <a:bodyPr vert="horz" lIns="91295" tIns="45647" rIns="91295" bIns="45647" rtlCol="0" anchor="t">
            <a:normAutofit/>
          </a:bodyPr>
          <a:lstStyle/>
          <a:p>
            <a:r>
              <a:rPr lang="en-US" dirty="0"/>
              <a:t>Click to edit slide title</a:t>
            </a:r>
            <a:endParaRPr lang="en-GB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13113835" y="7572377"/>
            <a:ext cx="825686" cy="48305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9554" tIns="54776" rIns="109554" bIns="54776" rtlCol="0" anchor="b"/>
          <a:lstStyle/>
          <a:p>
            <a:pPr algn="r" defTabSz="547783" fontAlgn="base">
              <a:spcBef>
                <a:spcPct val="0"/>
              </a:spcBef>
              <a:spcAft>
                <a:spcPct val="0"/>
              </a:spcAft>
              <a:defRPr/>
            </a:pPr>
            <a:fld id="{5EC90B3C-0AB7-4290-BE7F-2E81F8DA0B31}" type="slidenum">
              <a:rPr lang="en-GB" sz="1200">
                <a:solidFill>
                  <a:srgbClr val="000000">
                    <a:lumMod val="50000"/>
                    <a:lumOff val="50000"/>
                  </a:srgbClr>
                </a:solidFill>
              </a:rPr>
              <a:pPr algn="r" defTabSz="54778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200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5747122" y="7999990"/>
            <a:ext cx="3136157" cy="197356"/>
          </a:xfrm>
          <a:prstGeom prst="rect">
            <a:avLst/>
          </a:prstGeom>
        </p:spPr>
        <p:txBody>
          <a:bodyPr vert="horz" wrap="none" lIns="109554" tIns="54776" rIns="109554" bIns="54776" rtlCol="0">
            <a:noAutofit/>
          </a:bodyPr>
          <a:lstStyle/>
          <a:p>
            <a:pPr algn="ctr" defTabSz="547783" fontAlgn="base">
              <a:spcBef>
                <a:spcPct val="0"/>
              </a:spcBef>
              <a:spcAft>
                <a:spcPct val="0"/>
              </a:spcAft>
            </a:pPr>
            <a:r>
              <a:rPr lang="en-GB" sz="960" dirty="0">
                <a:solidFill>
                  <a:srgbClr val="000000"/>
                </a:solidFill>
                <a:ea typeface="ＭＳ Ｐゴシック" charset="0"/>
              </a:rPr>
              <a:t>Strictly 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4787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  <p:sldLayoutId id="2147483809" r:id="rId21"/>
    <p:sldLayoutId id="2147483810" r:id="rId22"/>
    <p:sldLayoutId id="2147483811" r:id="rId23"/>
    <p:sldLayoutId id="2147483812" r:id="rId24"/>
    <p:sldLayoutId id="2147483813" r:id="rId25"/>
    <p:sldLayoutId id="2147483814" r:id="rId26"/>
    <p:sldLayoutId id="2147483815" r:id="rId27"/>
    <p:sldLayoutId id="2147483816" r:id="rId28"/>
    <p:sldLayoutId id="2147483817" r:id="rId29"/>
    <p:sldLayoutId id="2147483818" r:id="rId30"/>
    <p:sldLayoutId id="2147483819" r:id="rId31"/>
    <p:sldLayoutId id="2147483820" r:id="rId32"/>
    <p:sldLayoutId id="2147483821" r:id="rId33"/>
    <p:sldLayoutId id="2147483822" r:id="rId34"/>
  </p:sldLayoutIdLst>
  <p:hf sldNum="0" hdr="0" dt="0"/>
  <p:txStyles>
    <p:titleStyle>
      <a:lvl1pPr marL="0" indent="0" algn="l" defTabSz="547783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3000" kern="1200">
          <a:solidFill>
            <a:srgbClr val="F40009"/>
          </a:solidFill>
          <a:latin typeface="+mj-lt"/>
          <a:ea typeface="ＭＳ Ｐゴシック" charset="0"/>
          <a:cs typeface="ＭＳ Ｐゴシック" charset="0"/>
        </a:defRPr>
      </a:lvl1pPr>
      <a:lvl2pPr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547783"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1095566"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643347"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2191132" algn="ctr" defTabSz="547783" rtl="0" eaLnBrk="1" fontAlgn="base" hangingPunct="1">
        <a:spcBef>
          <a:spcPct val="0"/>
        </a:spcBef>
        <a:spcAft>
          <a:spcPct val="0"/>
        </a:spcAft>
        <a:defRPr sz="5280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410838" indent="-410838" algn="l" defTabSz="547783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n-US" sz="1680" kern="1200" dirty="0" smtClean="0">
          <a:solidFill>
            <a:schemeClr val="tx1"/>
          </a:solidFill>
          <a:latin typeface="+mn-lt"/>
          <a:ea typeface="ＭＳ Ｐゴシック" charset="0"/>
          <a:cs typeface="Arial"/>
        </a:defRPr>
      </a:lvl1pPr>
      <a:lvl2pPr marL="855910" indent="-427955" algn="l" defTabSz="547783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283866" indent="-427955" algn="l" defTabSz="547783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725139" indent="-441271" algn="l" defTabSz="547783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153090" indent="-427955" algn="l" defTabSz="547783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8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3012805" indent="-273892" algn="l" defTabSz="547783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60591" indent="-273892" algn="l" defTabSz="547783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108369" indent="-273892" algn="l" defTabSz="547783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56154" indent="-273892" algn="l" defTabSz="547783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7783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5566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3347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1132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38912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86687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34479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2261" algn="l" defTabSz="547783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5">
          <p15:clr>
            <a:srgbClr val="F26B43"/>
          </p15:clr>
        </p15:guide>
        <p15:guide id="2" pos="5474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orient="horz" pos="4224">
          <p15:clr>
            <a:srgbClr val="F26B43"/>
          </p15:clr>
        </p15:guide>
        <p15:guide id="5" orient="horz" pos="572">
          <p15:clr>
            <a:srgbClr val="F26B43"/>
          </p15:clr>
        </p15:guide>
        <p15:guide id="6" orient="horz" pos="73">
          <p15:clr>
            <a:srgbClr val="F26B43"/>
          </p15:clr>
        </p15:guide>
        <p15:guide id="7" orient="horz" pos="3974">
          <p15:clr>
            <a:srgbClr val="F26B43"/>
          </p15:clr>
        </p15:guide>
        <p15:guide id="8" pos="4422">
          <p15:clr>
            <a:srgbClr val="F26B43"/>
          </p15:clr>
        </p15:guide>
        <p15:guide id="9" orient="horz" pos="1207">
          <p15:clr>
            <a:srgbClr val="F26B43"/>
          </p15:clr>
        </p15:guide>
        <p15:guide id="10" orient="horz" pos="2319">
          <p15:clr>
            <a:srgbClr val="000000"/>
          </p15:clr>
        </p15:guide>
        <p15:guide id="11" orient="horz" pos="2409">
          <p15:clr>
            <a:srgbClr val="000000"/>
          </p15:clr>
        </p15:guide>
        <p15:guide id="12" orient="horz" pos="2863">
          <p15:clr>
            <a:srgbClr val="F26B43"/>
          </p15:clr>
        </p15:guide>
        <p15:guide id="13" pos="2045">
          <p15:clr>
            <a:srgbClr val="5ACBF0"/>
          </p15:clr>
        </p15:guide>
        <p15:guide id="14" pos="3714">
          <p15:clr>
            <a:srgbClr val="5ACBF0"/>
          </p15:clr>
        </p15:guide>
        <p15:guide id="15" pos="3806">
          <p15:clr>
            <a:srgbClr val="5ACBF0"/>
          </p15:clr>
        </p15:guide>
        <p15:guide id="16" pos="2835">
          <p15:clr>
            <a:srgbClr val="000000"/>
          </p15:clr>
        </p15:guide>
        <p15:guide id="17" pos="2925">
          <p15:clr>
            <a:srgbClr val="000000"/>
          </p15:clr>
        </p15:guide>
        <p15:guide id="18" pos="1605">
          <p15:clr>
            <a:srgbClr val="9FCC3B"/>
          </p15:clr>
        </p15:guide>
        <p15:guide id="19" pos="1514">
          <p15:clr>
            <a:srgbClr val="9FCC3B"/>
          </p15:clr>
        </p15:guide>
        <p15:guide id="20" pos="4155">
          <p15:clr>
            <a:srgbClr val="9FCC3B"/>
          </p15:clr>
        </p15:guide>
        <p15:guide id="21" pos="4245">
          <p15:clr>
            <a:srgbClr val="9FCC3B"/>
          </p15:clr>
        </p15:guide>
        <p15:guide id="22" pos="1955">
          <p15:clr>
            <a:srgbClr val="5ACBF0"/>
          </p15:clr>
        </p15:guide>
        <p15:guide id="23" orient="horz" pos="1767">
          <p15:clr>
            <a:srgbClr val="5ACBF0"/>
          </p15:clr>
        </p15:guide>
        <p15:guide id="24" orient="horz" pos="1859">
          <p15:clr>
            <a:srgbClr val="5ACBF0"/>
          </p15:clr>
        </p15:guide>
        <p15:guide id="25" orient="horz" pos="2964">
          <p15:clr>
            <a:srgbClr val="5ACBF0"/>
          </p15:clr>
        </p15:guide>
        <p15:guide id="26" orient="horz" pos="2873">
          <p15:clr>
            <a:srgbClr val="5ACBF0"/>
          </p15:clr>
        </p15:guide>
        <p15:guide id="27" orient="horz" pos="1490">
          <p15:clr>
            <a:srgbClr val="9FCC3B"/>
          </p15:clr>
        </p15:guide>
        <p15:guide id="28" orient="horz" pos="1581">
          <p15:clr>
            <a:srgbClr val="9FCC3B"/>
          </p15:clr>
        </p15:guide>
        <p15:guide id="29" orient="horz" pos="3146">
          <p15:clr>
            <a:srgbClr val="9FCC3B"/>
          </p15:clr>
        </p15:guide>
        <p15:guide id="30" orient="horz" pos="3237">
          <p15:clr>
            <a:srgbClr val="9FCC3B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7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13897961" y="7704815"/>
            <a:ext cx="517934" cy="25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 defTabSz="1097280" fontAlgn="base">
              <a:spcBef>
                <a:spcPct val="50000"/>
              </a:spcBef>
              <a:spcAft>
                <a:spcPct val="0"/>
              </a:spcAft>
            </a:pPr>
            <a:fld id="{11FFF69D-7E48-8842-BAD1-70FE10E6863A}" type="slidenum">
              <a:rPr lang="en-GB" sz="1080" smtClean="0">
                <a:solidFill>
                  <a:srgbClr val="C00000"/>
                </a:solidFill>
                <a:latin typeface="Helvetica" pitchFamily="-110" charset="0"/>
                <a:ea typeface="ＭＳ Ｐゴシック" pitchFamily="31" charset="-128"/>
              </a:rPr>
              <a:pPr algn="ctr" defTabSz="1097280" fontAlgn="base">
                <a:spcBef>
                  <a:spcPct val="50000"/>
                </a:spcBef>
                <a:spcAft>
                  <a:spcPct val="0"/>
                </a:spcAft>
              </a:pPr>
              <a:t>‹#›</a:t>
            </a:fld>
            <a:endParaRPr lang="en-GB" sz="1080" dirty="0">
              <a:solidFill>
                <a:srgbClr val="C00000"/>
              </a:solidFill>
              <a:latin typeface="Helvetica" pitchFamily="-110" charset="0"/>
              <a:ea typeface="ＭＳ Ｐゴシック" pitchFamily="31" charset="-128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27594" y="326976"/>
            <a:ext cx="13584646" cy="64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ontents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594" y="1260763"/>
            <a:ext cx="13584646" cy="614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411480" lvl="0" indent="-41148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</a:pPr>
            <a:r>
              <a:rPr lang="en-GB" dirty="0"/>
              <a:t>Avenir LT Std 55 Roman 16pt text with 1 paragraph spacing</a:t>
            </a:r>
          </a:p>
          <a:p>
            <a:pPr lvl="1"/>
            <a:r>
              <a:rPr lang="en-GB" dirty="0"/>
              <a:t>Avenir LT Std 45 Book 14pt text with 1 paragraph spacing</a:t>
            </a:r>
          </a:p>
          <a:p>
            <a:pPr lvl="2"/>
            <a:r>
              <a:rPr lang="en-GB" dirty="0"/>
              <a:t>Avenir LT Std 35 Light 12pt text with 1 paragraph spacing</a:t>
            </a:r>
          </a:p>
        </p:txBody>
      </p:sp>
      <p:sp>
        <p:nvSpPr>
          <p:cNvPr id="6" name="Rectángulo 8"/>
          <p:cNvSpPr/>
          <p:nvPr userDrawn="1"/>
        </p:nvSpPr>
        <p:spPr>
          <a:xfrm>
            <a:off x="527594" y="7797148"/>
            <a:ext cx="7315200" cy="9233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" sz="600" dirty="0">
                <a:solidFill>
                  <a:srgbClr val="F40009"/>
                </a:solidFill>
                <a:latin typeface="Arial" charset="0"/>
                <a:ea typeface="ＭＳ Ｐゴシック" charset="0"/>
              </a:rPr>
              <a:t>““Coca-Cola” and Lippincot Ribbon is a registered trademark of the Coca-Cola Company”</a:t>
            </a:r>
          </a:p>
        </p:txBody>
      </p:sp>
    </p:spTree>
    <p:extLst>
      <p:ext uri="{BB962C8B-B14F-4D97-AF65-F5344CB8AC3E}">
        <p14:creationId xmlns:p14="http://schemas.microsoft.com/office/powerpoint/2010/main" val="1069673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120" b="1">
          <a:solidFill>
            <a:schemeClr val="accent6"/>
          </a:solidFill>
          <a:latin typeface="Avenir LT Std 85 Heavy"/>
          <a:ea typeface="Avenir LT Std 85 Heavy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120" b="1">
          <a:solidFill>
            <a:srgbClr val="D80321"/>
          </a:solidFill>
          <a:latin typeface="Helvetica" pitchFamily="34" charset="0"/>
          <a:ea typeface="Helvetica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120" b="1">
          <a:solidFill>
            <a:srgbClr val="D80321"/>
          </a:solidFill>
          <a:latin typeface="Helvetica" pitchFamily="34" charset="0"/>
          <a:ea typeface="Helvetica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120" b="1">
          <a:solidFill>
            <a:srgbClr val="D80321"/>
          </a:solidFill>
          <a:latin typeface="Helvetica" pitchFamily="34" charset="0"/>
          <a:ea typeface="Helvetica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120" b="1">
          <a:solidFill>
            <a:srgbClr val="D80321"/>
          </a:solidFill>
          <a:latin typeface="Helvetica" pitchFamily="34" charset="0"/>
          <a:ea typeface="Helvetica" pitchFamily="34" charset="0"/>
          <a:cs typeface="Arial" charset="0"/>
        </a:defRPr>
      </a:lvl5pPr>
      <a:lvl6pPr marL="548640" algn="l" rtl="0" fontAlgn="base">
        <a:spcBef>
          <a:spcPct val="0"/>
        </a:spcBef>
        <a:spcAft>
          <a:spcPct val="0"/>
        </a:spcAft>
        <a:defRPr sz="4320" b="1">
          <a:solidFill>
            <a:srgbClr val="D80321"/>
          </a:solidFill>
          <a:latin typeface="Palatino" pitchFamily="18" charset="0"/>
          <a:cs typeface="Arial" charset="0"/>
        </a:defRPr>
      </a:lvl6pPr>
      <a:lvl7pPr marL="1097280" algn="l" rtl="0" fontAlgn="base">
        <a:spcBef>
          <a:spcPct val="0"/>
        </a:spcBef>
        <a:spcAft>
          <a:spcPct val="0"/>
        </a:spcAft>
        <a:defRPr sz="4320" b="1">
          <a:solidFill>
            <a:srgbClr val="D80321"/>
          </a:solidFill>
          <a:latin typeface="Palatino" pitchFamily="18" charset="0"/>
          <a:cs typeface="Arial" charset="0"/>
        </a:defRPr>
      </a:lvl7pPr>
      <a:lvl8pPr marL="1645920" algn="l" rtl="0" fontAlgn="base">
        <a:spcBef>
          <a:spcPct val="0"/>
        </a:spcBef>
        <a:spcAft>
          <a:spcPct val="0"/>
        </a:spcAft>
        <a:defRPr sz="4320" b="1">
          <a:solidFill>
            <a:srgbClr val="D80321"/>
          </a:solidFill>
          <a:latin typeface="Palatino" pitchFamily="18" charset="0"/>
          <a:cs typeface="Arial" charset="0"/>
        </a:defRPr>
      </a:lvl8pPr>
      <a:lvl9pPr marL="2194560" algn="l" rtl="0" fontAlgn="base">
        <a:spcBef>
          <a:spcPct val="0"/>
        </a:spcBef>
        <a:spcAft>
          <a:spcPct val="0"/>
        </a:spcAft>
        <a:defRPr sz="4320" b="1">
          <a:solidFill>
            <a:srgbClr val="D80321"/>
          </a:solidFill>
          <a:latin typeface="Palatino" pitchFamily="18" charset="0"/>
          <a:cs typeface="Arial" charset="0"/>
        </a:defRPr>
      </a:lvl9pPr>
    </p:titleStyle>
    <p:bodyStyle>
      <a:lvl1pPr marL="411480" indent="-234316" algn="l" rtl="0" eaLnBrk="0" fontAlgn="base" hangingPunct="0">
        <a:spcBef>
          <a:spcPct val="20000"/>
        </a:spcBef>
        <a:spcAft>
          <a:spcPct val="0"/>
        </a:spcAft>
        <a:buChar char="•"/>
        <a:defRPr lang="en-US" sz="1920" b="0" i="0" dirty="0">
          <a:solidFill>
            <a:schemeClr val="bg1"/>
          </a:solidFill>
          <a:latin typeface="Avenir LT Std 85 Heavy"/>
          <a:ea typeface="ＭＳ Ｐゴシック" pitchFamily="31" charset="-128"/>
          <a:cs typeface="Arial" pitchFamily="34" charset="0"/>
        </a:defRPr>
      </a:lvl1pPr>
      <a:lvl2pPr marL="891540" indent="-342900" algn="l" rtl="0" eaLnBrk="0" fontAlgn="base" hangingPunct="0">
        <a:spcBef>
          <a:spcPct val="20000"/>
        </a:spcBef>
        <a:spcAft>
          <a:spcPct val="0"/>
        </a:spcAft>
        <a:buChar char="–"/>
        <a:defRPr sz="1680" b="0" i="0" baseline="0">
          <a:solidFill>
            <a:schemeClr val="bg1"/>
          </a:solidFill>
          <a:latin typeface="Avenir LT Std 85 Heavy"/>
          <a:ea typeface="ＭＳ Ｐゴシック" pitchFamily="31" charset="-128"/>
          <a:cs typeface="Arial" pitchFamily="34" charset="0"/>
        </a:defRPr>
      </a:lvl2pPr>
      <a:lvl3pPr marL="1371600" indent="-274320" algn="l" rtl="0" eaLnBrk="0" fontAlgn="base" hangingPunct="0">
        <a:spcBef>
          <a:spcPct val="20000"/>
        </a:spcBef>
        <a:spcAft>
          <a:spcPct val="0"/>
        </a:spcAft>
        <a:buChar char="•"/>
        <a:defRPr sz="1440" b="0" i="0">
          <a:solidFill>
            <a:schemeClr val="bg1"/>
          </a:solidFill>
          <a:latin typeface="Avenir LT Std 85 Heavy"/>
          <a:ea typeface="ＭＳ Ｐゴシック" pitchFamily="31" charset="-128"/>
          <a:cs typeface="Arial" pitchFamily="34" charset="0"/>
        </a:defRPr>
      </a:lvl3pPr>
      <a:lvl4pPr marL="1920240" indent="-274320" algn="l" rtl="0" eaLnBrk="0" fontAlgn="base" hangingPunct="0">
        <a:spcBef>
          <a:spcPct val="20000"/>
        </a:spcBef>
        <a:spcAft>
          <a:spcPct val="0"/>
        </a:spcAft>
        <a:buChar char="–"/>
        <a:defRPr sz="1920">
          <a:solidFill>
            <a:srgbClr val="333333"/>
          </a:solidFill>
          <a:latin typeface="Avenir LT Std 85 Heavy"/>
          <a:ea typeface="ＭＳ Ｐゴシック" pitchFamily="31" charset="-128"/>
          <a:cs typeface="Avenir LT Std 85 Heavy"/>
        </a:defRPr>
      </a:lvl4pPr>
      <a:lvl5pPr marL="2468880" indent="-274320" algn="l" rtl="0" eaLnBrk="0" fontAlgn="base" hangingPunct="0">
        <a:spcBef>
          <a:spcPct val="20000"/>
        </a:spcBef>
        <a:spcAft>
          <a:spcPct val="0"/>
        </a:spcAft>
        <a:buChar char="»"/>
        <a:defRPr sz="1920">
          <a:solidFill>
            <a:srgbClr val="333333"/>
          </a:solidFill>
          <a:latin typeface="Avenir LT Std 85 Heavy"/>
          <a:ea typeface="ＭＳ Ｐゴシック" pitchFamily="31" charset="-128"/>
          <a:cs typeface="Avenir LT Std 85 Heavy"/>
        </a:defRPr>
      </a:lvl5pPr>
      <a:lvl6pPr marL="3017520" indent="-274320" algn="l" rtl="0" fontAlgn="base">
        <a:spcBef>
          <a:spcPct val="20000"/>
        </a:spcBef>
        <a:spcAft>
          <a:spcPct val="0"/>
        </a:spcAft>
        <a:buChar char="»"/>
        <a:defRPr sz="1680">
          <a:solidFill>
            <a:srgbClr val="333333"/>
          </a:solidFill>
          <a:latin typeface="+mn-lt"/>
        </a:defRPr>
      </a:lvl6pPr>
      <a:lvl7pPr marL="3566160" indent="-274320" algn="l" rtl="0" fontAlgn="base">
        <a:spcBef>
          <a:spcPct val="20000"/>
        </a:spcBef>
        <a:spcAft>
          <a:spcPct val="0"/>
        </a:spcAft>
        <a:buChar char="»"/>
        <a:defRPr sz="1680">
          <a:solidFill>
            <a:srgbClr val="333333"/>
          </a:solidFill>
          <a:latin typeface="+mn-lt"/>
        </a:defRPr>
      </a:lvl7pPr>
      <a:lvl8pPr marL="4114800" indent="-274320" algn="l" rtl="0" fontAlgn="base">
        <a:spcBef>
          <a:spcPct val="20000"/>
        </a:spcBef>
        <a:spcAft>
          <a:spcPct val="0"/>
        </a:spcAft>
        <a:buChar char="»"/>
        <a:defRPr sz="1680">
          <a:solidFill>
            <a:srgbClr val="333333"/>
          </a:solidFill>
          <a:latin typeface="+mn-lt"/>
        </a:defRPr>
      </a:lvl8pPr>
      <a:lvl9pPr marL="4663440" indent="-274320" algn="l" rtl="0" fontAlgn="base">
        <a:spcBef>
          <a:spcPct val="20000"/>
        </a:spcBef>
        <a:spcAft>
          <a:spcPct val="0"/>
        </a:spcAft>
        <a:buChar char="»"/>
        <a:defRPr sz="1680">
          <a:solidFill>
            <a:srgbClr val="333333"/>
          </a:solidFill>
          <a:latin typeface="+mn-lt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2550" y="1912"/>
          <a:ext cx="2539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Diapositive think-cell" r:id="rId5" imgW="473" imgH="470" progId="TCLayout.ActiveDocument.1">
                  <p:embed/>
                </p:oleObj>
              </mc:Choice>
              <mc:Fallback>
                <p:oleObj name="Diapositive think-cell" r:id="rId5" imgW="473" imgH="4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50" y="1912"/>
                        <a:ext cx="2539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3741" y="120434"/>
            <a:ext cx="10569600" cy="9672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>
          <a:xfrm>
            <a:off x="713741" y="1455428"/>
            <a:ext cx="13179446" cy="61233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8" name="TextBox 7"/>
          <p:cNvSpPr txBox="1">
            <a:spLocks noChangeAspect="1"/>
          </p:cNvSpPr>
          <p:nvPr/>
        </p:nvSpPr>
        <p:spPr>
          <a:xfrm>
            <a:off x="13251442" y="7768777"/>
            <a:ext cx="641744" cy="29700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506449" fontAlgn="base">
              <a:spcBef>
                <a:spcPct val="0"/>
              </a:spcBef>
              <a:spcAft>
                <a:spcPct val="0"/>
              </a:spcAft>
              <a:defRPr/>
            </a:pPr>
            <a:fld id="{EB02245E-B63F-4601-BFC3-7DBCCE4DD44C}" type="slidenum">
              <a:rPr lang="en-GB" sz="1330">
                <a:solidFill>
                  <a:srgbClr val="B3B3B3">
                    <a:lumMod val="60000"/>
                    <a:lumOff val="40000"/>
                  </a:srgbClr>
                </a:solidFill>
                <a:ea typeface="ＭＳ Ｐゴシック" charset="0"/>
              </a:rPr>
              <a:pPr algn="r" defTabSz="50644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1330" dirty="0">
              <a:solidFill>
                <a:srgbClr val="B3B3B3">
                  <a:lumMod val="60000"/>
                  <a:lumOff val="40000"/>
                </a:srgbClr>
              </a:solidFill>
              <a:ea typeface="ＭＳ Ｐゴシック" charset="0"/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4998720" y="7627633"/>
            <a:ext cx="463296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3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4864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>
                  <a:tint val="75000"/>
                </a:srgb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15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</p:sldLayoutIdLst>
  <p:hf hdr="0" ftr="0" dt="0"/>
  <p:txStyles>
    <p:titleStyle>
      <a:lvl1pPr marL="0" indent="0" algn="l" defTabSz="506449" rtl="0" eaLnBrk="1" fontAlgn="base" hangingPunct="1">
        <a:spcBef>
          <a:spcPct val="0"/>
        </a:spcBef>
        <a:spcAft>
          <a:spcPct val="0"/>
        </a:spcAft>
        <a:buFont typeface="Arial" panose="020B0604020202020204" pitchFamily="34" charset="0"/>
        <a:buNone/>
        <a:defRPr sz="2770" kern="1200">
          <a:solidFill>
            <a:srgbClr val="F40009"/>
          </a:solidFill>
          <a:latin typeface="+mj-lt"/>
          <a:ea typeface="ＭＳ Ｐゴシック" charset="0"/>
          <a:cs typeface="ＭＳ Ｐゴシック" charset="0"/>
        </a:defRPr>
      </a:lvl1pPr>
      <a:lvl2pPr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2pPr>
      <a:lvl3pPr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3pPr>
      <a:lvl4pPr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4pPr>
      <a:lvl5pPr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5pPr>
      <a:lvl6pPr marL="506449"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6pPr>
      <a:lvl7pPr marL="1012900"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7pPr>
      <a:lvl8pPr marL="1519349"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8pPr>
      <a:lvl9pPr marL="2025798" algn="ctr" defTabSz="506449" rtl="0" eaLnBrk="1" fontAlgn="base" hangingPunct="1">
        <a:spcBef>
          <a:spcPct val="0"/>
        </a:spcBef>
        <a:spcAft>
          <a:spcPct val="0"/>
        </a:spcAft>
        <a:defRPr sz="4874">
          <a:solidFill>
            <a:schemeClr val="tx1"/>
          </a:solidFill>
          <a:latin typeface="Arial" charset="0"/>
          <a:ea typeface="ＭＳ Ｐゴシック" charset="0"/>
          <a:cs typeface="ＭＳ Ｐゴシック" charset="0"/>
        </a:defRPr>
      </a:lvl9pPr>
    </p:titleStyle>
    <p:bodyStyle>
      <a:lvl1pPr marL="379837" indent="-379837" algn="l" defTabSz="506449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lang="en-US" sz="2215" kern="1200" dirty="0" smtClean="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91328" indent="-395664" algn="l" defTabSz="506449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772" kern="1200">
          <a:solidFill>
            <a:schemeClr val="tx1"/>
          </a:solidFill>
          <a:latin typeface="+mj-lt"/>
          <a:ea typeface="ＭＳ Ｐゴシック" charset="0"/>
          <a:cs typeface="+mn-cs"/>
        </a:defRPr>
      </a:lvl2pPr>
      <a:lvl3pPr marL="1186992" indent="-395664" algn="l" defTabSz="506449" rtl="0" eaLnBrk="1" fontAlgn="base" hangingPunct="1">
        <a:spcBef>
          <a:spcPct val="20000"/>
        </a:spcBef>
        <a:spcAft>
          <a:spcPct val="0"/>
        </a:spcAft>
        <a:buFont typeface="Wingdings" charset="2"/>
        <a:buChar char="Ø"/>
        <a:defRPr sz="1330" kern="1200">
          <a:solidFill>
            <a:schemeClr val="tx1"/>
          </a:solidFill>
          <a:latin typeface="+mj-lt"/>
          <a:ea typeface="ＭＳ Ｐゴシック" charset="0"/>
          <a:cs typeface="+mn-cs"/>
        </a:defRPr>
      </a:lvl3pPr>
      <a:lvl4pPr marL="1594966" indent="-407974" algn="l" defTabSz="506449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330" kern="1200">
          <a:solidFill>
            <a:schemeClr val="tx1"/>
          </a:solidFill>
          <a:latin typeface="+mj-lt"/>
          <a:ea typeface="ＭＳ Ｐゴシック" charset="0"/>
          <a:cs typeface="+mn-cs"/>
        </a:defRPr>
      </a:lvl4pPr>
      <a:lvl5pPr marL="1990628" indent="-395664" algn="l" defTabSz="506449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330" kern="1200">
          <a:solidFill>
            <a:schemeClr val="tx1"/>
          </a:solidFill>
          <a:latin typeface="+mj-lt"/>
          <a:ea typeface="ＭＳ Ｐゴシック" charset="0"/>
          <a:cs typeface="+mn-cs"/>
        </a:defRPr>
      </a:lvl5pPr>
      <a:lvl6pPr marL="2785472" indent="-253225" algn="l" defTabSz="506449" rtl="0" eaLnBrk="1" latinLnBrk="0" hangingPunct="1">
        <a:spcBef>
          <a:spcPct val="20000"/>
        </a:spcBef>
        <a:buFont typeface="Arial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291923" indent="-253225" algn="l" defTabSz="506449" rtl="0" eaLnBrk="1" latinLnBrk="0" hangingPunct="1">
        <a:spcBef>
          <a:spcPct val="20000"/>
        </a:spcBef>
        <a:buFont typeface="Arial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798372" indent="-253225" algn="l" defTabSz="506449" rtl="0" eaLnBrk="1" latinLnBrk="0" hangingPunct="1">
        <a:spcBef>
          <a:spcPct val="20000"/>
        </a:spcBef>
        <a:buFont typeface="Arial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304821" indent="-253225" algn="l" defTabSz="506449" rtl="0" eaLnBrk="1" latinLnBrk="0" hangingPunct="1">
        <a:spcBef>
          <a:spcPct val="20000"/>
        </a:spcBef>
        <a:buFont typeface="Arial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1pPr>
      <a:lvl2pPr marL="506449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2pPr>
      <a:lvl3pPr marL="1012900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3pPr>
      <a:lvl4pPr marL="1519349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4pPr>
      <a:lvl5pPr marL="2025798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5pPr>
      <a:lvl6pPr marL="2532248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6pPr>
      <a:lvl7pPr marL="3038698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7pPr>
      <a:lvl8pPr marL="3545147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8pPr>
      <a:lvl9pPr marL="4051597" algn="l" defTabSz="506449" rtl="0" eaLnBrk="1" latinLnBrk="0" hangingPunct="1">
        <a:defRPr sz="199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7" Type="http://schemas.openxmlformats.org/officeDocument/2006/relationships/image" Target="../media/image97.png"/><Relationship Id="rId2" Type="http://schemas.openxmlformats.org/officeDocument/2006/relationships/hyperlink" Target="file:///\\SOFBFDFS001.cokecce.com\Users$\B81223\Relationship%20Management\Atrium%20Sofia\Ninjas%20and%20Robots.avi" TargetMode="External"/><Relationship Id="rId1" Type="http://schemas.openxmlformats.org/officeDocument/2006/relationships/slideLayout" Target="../slideLayouts/slideLayout105.xml"/><Relationship Id="rId6" Type="http://schemas.openxmlformats.org/officeDocument/2006/relationships/image" Target="../media/image96.png"/><Relationship Id="rId5" Type="http://schemas.openxmlformats.org/officeDocument/2006/relationships/image" Target="../media/image95.jpeg"/><Relationship Id="rId4" Type="http://schemas.openxmlformats.org/officeDocument/2006/relationships/image" Target="../media/image9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tags" Target="../tags/tag72.xml"/><Relationship Id="rId7" Type="http://schemas.openxmlformats.org/officeDocument/2006/relationships/image" Target="../media/image98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66.bin"/><Relationship Id="rId4" Type="http://schemas.openxmlformats.org/officeDocument/2006/relationships/slideLayout" Target="../slideLayouts/slideLayout10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9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tags" Target="../tags/tag74.xml"/><Relationship Id="rId7" Type="http://schemas.openxmlformats.org/officeDocument/2006/relationships/image" Target="../media/image102.png"/><Relationship Id="rId2" Type="http://schemas.openxmlformats.org/officeDocument/2006/relationships/tags" Target="../tags/tag7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78.emf"/><Relationship Id="rId11" Type="http://schemas.openxmlformats.org/officeDocument/2006/relationships/image" Target="../media/image106.emf"/><Relationship Id="rId5" Type="http://schemas.openxmlformats.org/officeDocument/2006/relationships/oleObject" Target="../embeddings/oleObject67.bin"/><Relationship Id="rId10" Type="http://schemas.openxmlformats.org/officeDocument/2006/relationships/image" Target="../media/image105.png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10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tags" Target="../tags/tag76.xml"/><Relationship Id="rId7" Type="http://schemas.openxmlformats.org/officeDocument/2006/relationships/image" Target="../media/image107.png"/><Relationship Id="rId2" Type="http://schemas.openxmlformats.org/officeDocument/2006/relationships/tags" Target="../tags/tag7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68.bin"/><Relationship Id="rId4" Type="http://schemas.openxmlformats.org/officeDocument/2006/relationships/slideLayout" Target="../slideLayouts/slideLayout1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7" Type="http://schemas.openxmlformats.org/officeDocument/2006/relationships/image" Target="../media/image114.jpe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113.jpeg"/><Relationship Id="rId5" Type="http://schemas.openxmlformats.org/officeDocument/2006/relationships/image" Target="../media/image112.jpeg"/><Relationship Id="rId4" Type="http://schemas.openxmlformats.org/officeDocument/2006/relationships/image" Target="../media/image111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tags" Target="../tags/tag78.xml"/><Relationship Id="rId7" Type="http://schemas.openxmlformats.org/officeDocument/2006/relationships/image" Target="../media/image78.emf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17.png"/><Relationship Id="rId4" Type="http://schemas.openxmlformats.org/officeDocument/2006/relationships/slideLayout" Target="../slideLayouts/slideLayout110.xml"/><Relationship Id="rId9" Type="http://schemas.openxmlformats.org/officeDocument/2006/relationships/image" Target="../media/image11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jpg"/><Relationship Id="rId13" Type="http://schemas.openxmlformats.org/officeDocument/2006/relationships/image" Target="../media/image124.jpeg"/><Relationship Id="rId3" Type="http://schemas.openxmlformats.org/officeDocument/2006/relationships/tags" Target="../tags/tag80.xml"/><Relationship Id="rId7" Type="http://schemas.openxmlformats.org/officeDocument/2006/relationships/image" Target="../media/image118.jpeg"/><Relationship Id="rId12" Type="http://schemas.openxmlformats.org/officeDocument/2006/relationships/image" Target="../media/image123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78.emf"/><Relationship Id="rId11" Type="http://schemas.openxmlformats.org/officeDocument/2006/relationships/image" Target="../media/image122.jpeg"/><Relationship Id="rId5" Type="http://schemas.openxmlformats.org/officeDocument/2006/relationships/oleObject" Target="../embeddings/oleObject70.bin"/><Relationship Id="rId10" Type="http://schemas.openxmlformats.org/officeDocument/2006/relationships/image" Target="../media/image121.jpeg"/><Relationship Id="rId4" Type="http://schemas.openxmlformats.org/officeDocument/2006/relationships/slideLayout" Target="../slideLayouts/slideLayout110.xml"/><Relationship Id="rId9" Type="http://schemas.openxmlformats.org/officeDocument/2006/relationships/image" Target="../media/image120.jpg"/><Relationship Id="rId14" Type="http://schemas.openxmlformats.org/officeDocument/2006/relationships/image" Target="../media/image12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106.xml"/><Relationship Id="rId4" Type="http://schemas.openxmlformats.org/officeDocument/2006/relationships/image" Target="../media/image128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://uk.linkedin.com/pub/daniel-willoughby-acma/3/605/85" TargetMode="External"/><Relationship Id="rId1" Type="http://schemas.openxmlformats.org/officeDocument/2006/relationships/slideLayout" Target="../slideLayouts/slideLayout14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emf"/><Relationship Id="rId13" Type="http://schemas.openxmlformats.org/officeDocument/2006/relationships/image" Target="../media/image75.emf"/><Relationship Id="rId3" Type="http://schemas.openxmlformats.org/officeDocument/2006/relationships/image" Target="../media/image65.emf"/><Relationship Id="rId7" Type="http://schemas.openxmlformats.org/officeDocument/2006/relationships/image" Target="../media/image69.emf"/><Relationship Id="rId12" Type="http://schemas.openxmlformats.org/officeDocument/2006/relationships/image" Target="../media/image7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68.emf"/><Relationship Id="rId11" Type="http://schemas.openxmlformats.org/officeDocument/2006/relationships/image" Target="../media/image73.emf"/><Relationship Id="rId5" Type="http://schemas.openxmlformats.org/officeDocument/2006/relationships/image" Target="../media/image67.emf"/><Relationship Id="rId15" Type="http://schemas.openxmlformats.org/officeDocument/2006/relationships/image" Target="../media/image77.emf"/><Relationship Id="rId10" Type="http://schemas.openxmlformats.org/officeDocument/2006/relationships/image" Target="../media/image72.emf"/><Relationship Id="rId4" Type="http://schemas.openxmlformats.org/officeDocument/2006/relationships/image" Target="../media/image66.png"/><Relationship Id="rId9" Type="http://schemas.openxmlformats.org/officeDocument/2006/relationships/image" Target="../media/image71.emf"/><Relationship Id="rId14" Type="http://schemas.openxmlformats.org/officeDocument/2006/relationships/image" Target="../media/image7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79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78.emf"/><Relationship Id="rId5" Type="http://schemas.openxmlformats.org/officeDocument/2006/relationships/oleObject" Target="../embeddings/oleObject64.bin"/><Relationship Id="rId4" Type="http://schemas.openxmlformats.org/officeDocument/2006/relationships/slideLayout" Target="../slideLayouts/slideLayout14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10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13" Type="http://schemas.openxmlformats.org/officeDocument/2006/relationships/image" Target="../media/image86.png"/><Relationship Id="rId3" Type="http://schemas.openxmlformats.org/officeDocument/2006/relationships/tags" Target="../tags/tag70.xml"/><Relationship Id="rId7" Type="http://schemas.openxmlformats.org/officeDocument/2006/relationships/oleObject" Target="../embeddings/oleObject65.bin"/><Relationship Id="rId12" Type="http://schemas.openxmlformats.org/officeDocument/2006/relationships/image" Target="../media/image85.jpg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81.png"/><Relationship Id="rId11" Type="http://schemas.openxmlformats.org/officeDocument/2006/relationships/image" Target="../media/image84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83.png"/><Relationship Id="rId4" Type="http://schemas.openxmlformats.org/officeDocument/2006/relationships/slideLayout" Target="../slideLayouts/slideLayout64.xml"/><Relationship Id="rId9" Type="http://schemas.openxmlformats.org/officeDocument/2006/relationships/image" Target="../media/image82.png"/><Relationship Id="rId14" Type="http://schemas.openxmlformats.org/officeDocument/2006/relationships/image" Target="../media/image8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60C8FA-CA77-574A-82FE-1365BA5D3C9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prstGeom prst="rect">
            <a:avLst/>
          </a:prstGeom>
        </p:spPr>
        <p:txBody>
          <a:bodyPr/>
          <a:lstStyle/>
          <a:p>
            <a:pPr defTabSz="1097280">
              <a:defRPr/>
            </a:pPr>
            <a:fld id="{62D2B4C2-8560-D74F-AEC2-C0D17C7CC3CC}" type="slidenum">
              <a:rPr lang="en-GB">
                <a:solidFill>
                  <a:prstClr val="black"/>
                </a:solidFill>
                <a:latin typeface="Calibri" panose="020F0502020204030204"/>
              </a:rPr>
              <a:pPr defTabSz="1097280">
                <a:defRPr/>
              </a:pPr>
              <a:t>1</a:t>
            </a:fld>
            <a:endParaRPr lang="en-GB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8AF304-6F11-4B1B-AEF8-381D37414C6D}"/>
              </a:ext>
            </a:extLst>
          </p:cNvPr>
          <p:cNvSpPr/>
          <p:nvPr/>
        </p:nvSpPr>
        <p:spPr>
          <a:xfrm>
            <a:off x="1828800" y="6483080"/>
            <a:ext cx="10827876" cy="18281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97280">
              <a:defRPr/>
            </a:pPr>
            <a:r>
              <a:rPr lang="en-US" sz="6480" dirty="0">
                <a:solidFill>
                  <a:prstClr val="white"/>
                </a:solidFill>
                <a:latin typeface="Mistral" panose="03090702030407020403" pitchFamily="66" charset="0"/>
              </a:rPr>
              <a:t>Finance Transformation, November</a:t>
            </a:r>
            <a:r>
              <a:rPr lang="en-US" sz="4800" dirty="0">
                <a:solidFill>
                  <a:prstClr val="white"/>
                </a:solidFill>
                <a:latin typeface="Mistral" panose="03090702030407020403" pitchFamily="66" charset="0"/>
              </a:rPr>
              <a:t> 2019</a:t>
            </a:r>
          </a:p>
          <a:p>
            <a:pPr algn="ctr" defTabSz="1097280">
              <a:defRPr/>
            </a:pPr>
            <a:r>
              <a:rPr lang="en-US" sz="4800" dirty="0">
                <a:solidFill>
                  <a:prstClr val="white"/>
                </a:solidFill>
                <a:latin typeface="Mistral" panose="03090702030407020403" pitchFamily="66" charset="0"/>
              </a:rPr>
              <a:t>Daniel Willoughby</a:t>
            </a:r>
          </a:p>
        </p:txBody>
      </p:sp>
    </p:spTree>
    <p:extLst>
      <p:ext uri="{BB962C8B-B14F-4D97-AF65-F5344CB8AC3E}">
        <p14:creationId xmlns:p14="http://schemas.microsoft.com/office/powerpoint/2010/main" val="11830249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3CB9FD-C574-4BA2-9666-116401F30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B72644C-40D2-458C-A279-01BF87BCF1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548640"/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4" name="Picture 21" descr="Image result for winston churchill change">
            <a:extLst>
              <a:ext uri="{FF2B5EF4-FFF2-40B4-BE49-F238E27FC236}">
                <a16:creationId xmlns:a16="http://schemas.microsoft.com/office/drawing/2014/main" id="{FC63625A-5807-4C7F-A6C3-4D12080E2F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430"/>
            <a:ext cx="14630400" cy="82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90795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EB895A-AD61-48F2-9040-3B5531D53C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22960"/>
            <a:fld id="{43F496C9-0AD9-C24F-92EB-2D26D61C9EC0}" type="slidenum">
              <a:rPr lang="nl-NL">
                <a:solidFill>
                  <a:srgbClr val="FFFFFF"/>
                </a:solidFill>
                <a:latin typeface="Gill Sans MT" panose="020B0502020104020203"/>
              </a:rPr>
              <a:pPr defTabSz="822960"/>
              <a:t>11</a:t>
            </a:fld>
            <a:endParaRPr lang="nl-NL" dirty="0">
              <a:solidFill>
                <a:srgbClr val="FFFFFF"/>
              </a:solidFill>
              <a:latin typeface="Gill Sans MT" panose="020B0502020104020203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C30ED-2A98-420A-9269-754B3BC9C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7520" y="3383280"/>
            <a:ext cx="8869680" cy="1097280"/>
          </a:xfrm>
        </p:spPr>
        <p:txBody>
          <a:bodyPr>
            <a:noAutofit/>
          </a:bodyPr>
          <a:lstStyle/>
          <a:p>
            <a:r>
              <a:rPr lang="en-GB" sz="5280" dirty="0"/>
              <a:t>The Future of Finance</a:t>
            </a:r>
          </a:p>
        </p:txBody>
      </p:sp>
    </p:spTree>
    <p:extLst>
      <p:ext uri="{BB962C8B-B14F-4D97-AF65-F5344CB8AC3E}">
        <p14:creationId xmlns:p14="http://schemas.microsoft.com/office/powerpoint/2010/main" val="3312719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17A95C-CFD4-47DA-8BD4-A8DD80BD8E8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261177"/>
            <a:ext cx="9326880" cy="826547"/>
          </a:xfrm>
        </p:spPr>
        <p:txBody>
          <a:bodyPr/>
          <a:lstStyle/>
          <a:p>
            <a:r>
              <a:rPr lang="en-GB" sz="3600" dirty="0"/>
              <a:t>Impact of Disruption and Chan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7BE2369-552E-4083-BE13-BFABCCF7EA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0" y="1394460"/>
            <a:ext cx="5029200" cy="255632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4BADCE1-AF59-49DE-BDF1-9E45E7F66D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80960" y="1348740"/>
            <a:ext cx="4905589" cy="26459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8DD14AD-8776-4C67-BB14-B086994103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64106" y="3950785"/>
            <a:ext cx="5029200" cy="309274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CE7147B-9D94-4068-BD3F-ED0E9CE3E0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11428" y="4080510"/>
            <a:ext cx="4975122" cy="2963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958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822960"/>
            <a:fld id="{43F496C9-0AD9-C24F-92EB-2D26D61C9EC0}" type="slidenum">
              <a:rPr lang="nl-NL">
                <a:solidFill>
                  <a:srgbClr val="FFFFFF"/>
                </a:solidFill>
                <a:latin typeface="Gill Sans MT" panose="020B0502020104020203"/>
              </a:rPr>
              <a:pPr defTabSz="822960"/>
              <a:t>13</a:t>
            </a:fld>
            <a:endParaRPr lang="nl-NL" dirty="0">
              <a:solidFill>
                <a:srgbClr val="FFFFFF"/>
              </a:solidFill>
              <a:latin typeface="Gill Sans MT" panose="020B0502020104020203"/>
            </a:endParaRPr>
          </a:p>
        </p:txBody>
      </p:sp>
      <p:sp>
        <p:nvSpPr>
          <p:cNvPr id="7" name="Cloud Callout 6"/>
          <p:cNvSpPr/>
          <p:nvPr/>
        </p:nvSpPr>
        <p:spPr>
          <a:xfrm>
            <a:off x="6511387" y="1482395"/>
            <a:ext cx="1535333" cy="1094537"/>
          </a:xfrm>
          <a:prstGeom prst="cloud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r>
              <a:rPr lang="en-GB" sz="1620" dirty="0">
                <a:solidFill>
                  <a:srgbClr val="FFFFFF"/>
                </a:solidFill>
                <a:latin typeface="Gill Sans MT" panose="020B0502020104020203"/>
              </a:rPr>
              <a:t>Robotics</a:t>
            </a:r>
          </a:p>
        </p:txBody>
      </p:sp>
      <p:sp>
        <p:nvSpPr>
          <p:cNvPr id="8" name="Cloud Callout 7"/>
          <p:cNvSpPr/>
          <p:nvPr/>
        </p:nvSpPr>
        <p:spPr>
          <a:xfrm>
            <a:off x="10470512" y="1243100"/>
            <a:ext cx="1791996" cy="1333832"/>
          </a:xfrm>
          <a:prstGeom prst="cloud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r>
              <a:rPr lang="en-GB" sz="1620" dirty="0">
                <a:solidFill>
                  <a:srgbClr val="FFFFFF"/>
                </a:solidFill>
                <a:latin typeface="Gill Sans MT" panose="020B0502020104020203"/>
              </a:rPr>
              <a:t>Predictive Analytics</a:t>
            </a:r>
          </a:p>
        </p:txBody>
      </p:sp>
      <p:sp>
        <p:nvSpPr>
          <p:cNvPr id="9" name="Cloud Callout 8"/>
          <p:cNvSpPr/>
          <p:nvPr/>
        </p:nvSpPr>
        <p:spPr>
          <a:xfrm>
            <a:off x="7386946" y="3067199"/>
            <a:ext cx="2702681" cy="1618494"/>
          </a:xfrm>
          <a:prstGeom prst="cloud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r>
              <a:rPr lang="en-GB" sz="1620" dirty="0">
                <a:solidFill>
                  <a:srgbClr val="FFFFFF"/>
                </a:solidFill>
                <a:latin typeface="Gill Sans MT" panose="020B0502020104020203"/>
              </a:rPr>
              <a:t>Artificial Intelligence / Machine Learning</a:t>
            </a:r>
          </a:p>
        </p:txBody>
      </p:sp>
      <p:sp>
        <p:nvSpPr>
          <p:cNvPr id="10" name="Cloud Callout 9"/>
          <p:cNvSpPr/>
          <p:nvPr/>
        </p:nvSpPr>
        <p:spPr>
          <a:xfrm>
            <a:off x="2929874" y="1341308"/>
            <a:ext cx="1975104" cy="1487633"/>
          </a:xfrm>
          <a:prstGeom prst="cloud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r>
              <a:rPr lang="en-GB" sz="1620" dirty="0">
                <a:solidFill>
                  <a:srgbClr val="FFFFFF"/>
                </a:solidFill>
                <a:latin typeface="Gill Sans MT" panose="020B0502020104020203"/>
              </a:rPr>
              <a:t>Cloud</a:t>
            </a:r>
          </a:p>
        </p:txBody>
      </p:sp>
      <p:sp>
        <p:nvSpPr>
          <p:cNvPr id="11" name="Cloud Callout 10"/>
          <p:cNvSpPr/>
          <p:nvPr/>
        </p:nvSpPr>
        <p:spPr>
          <a:xfrm>
            <a:off x="9559934" y="5087651"/>
            <a:ext cx="2134044" cy="1891015"/>
          </a:xfrm>
          <a:prstGeom prst="cloud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r>
              <a:rPr lang="en-GB" sz="1620" dirty="0">
                <a:solidFill>
                  <a:srgbClr val="FFFFFF"/>
                </a:solidFill>
                <a:latin typeface="Gill Sans MT" panose="020B0502020104020203"/>
              </a:rPr>
              <a:t>Digital</a:t>
            </a:r>
          </a:p>
        </p:txBody>
      </p:sp>
      <p:sp>
        <p:nvSpPr>
          <p:cNvPr id="12" name="Cloud Callout 11"/>
          <p:cNvSpPr/>
          <p:nvPr/>
        </p:nvSpPr>
        <p:spPr>
          <a:xfrm>
            <a:off x="5182125" y="5087651"/>
            <a:ext cx="2294002" cy="1646308"/>
          </a:xfrm>
          <a:prstGeom prst="cloud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r>
              <a:rPr lang="en-GB" sz="1620" dirty="0">
                <a:solidFill>
                  <a:srgbClr val="FFFFFF"/>
                </a:solidFill>
                <a:latin typeface="Gill Sans MT" panose="020B0502020104020203"/>
              </a:rPr>
              <a:t>SAP S/4Hana</a:t>
            </a:r>
          </a:p>
        </p:txBody>
      </p:sp>
      <p:sp>
        <p:nvSpPr>
          <p:cNvPr id="13" name="Cloud Callout 12"/>
          <p:cNvSpPr/>
          <p:nvPr/>
        </p:nvSpPr>
        <p:spPr>
          <a:xfrm>
            <a:off x="3098319" y="3415881"/>
            <a:ext cx="2252118" cy="1752127"/>
          </a:xfrm>
          <a:prstGeom prst="cloud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60"/>
            <a:r>
              <a:rPr lang="en-GB" sz="1620" dirty="0">
                <a:solidFill>
                  <a:srgbClr val="FFFFFF"/>
                </a:solidFill>
                <a:latin typeface="Gill Sans MT" panose="020B0502020104020203"/>
              </a:rPr>
              <a:t>Customer Experience</a:t>
            </a:r>
          </a:p>
        </p:txBody>
      </p:sp>
    </p:spTree>
    <p:extLst>
      <p:ext uri="{BB962C8B-B14F-4D97-AF65-F5344CB8AC3E}">
        <p14:creationId xmlns:p14="http://schemas.microsoft.com/office/powerpoint/2010/main" val="759140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500"/>
                            </p:stCondLst>
                            <p:childTnLst>
                              <p:par>
                                <p:cTn id="40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9" grpId="0" animBg="1"/>
      <p:bldP spid="9" grpId="1" animBg="1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3" grpId="0" animBg="1"/>
      <p:bldP spid="13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8238" y="15666"/>
            <a:ext cx="11734800" cy="950596"/>
          </a:xfrm>
        </p:spPr>
        <p:txBody>
          <a:bodyPr vert="horz" lIns="109554" tIns="54776" rIns="109554" bIns="54776" rtlCol="0" anchor="t">
            <a:noAutofit/>
          </a:bodyPr>
          <a:lstStyle/>
          <a:p>
            <a:r>
              <a:rPr lang="en-GB" sz="3600" b="1" dirty="0"/>
              <a:t>Leverage &amp; scale our capabilities in Bulgaria</a:t>
            </a:r>
            <a:br>
              <a:rPr lang="en-GB" sz="3600" b="1" dirty="0"/>
            </a:br>
            <a:r>
              <a:rPr lang="en-GB" sz="3600" b="1" dirty="0"/>
              <a:t>Sofia SSC &amp; CoE capabilities showcased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7471468" y="4806556"/>
            <a:ext cx="5362124" cy="3023857"/>
            <a:chOff x="371803" y="4034896"/>
            <a:chExt cx="4468437" cy="2519881"/>
          </a:xfrm>
        </p:grpSpPr>
        <p:pic>
          <p:nvPicPr>
            <p:cNvPr id="4" name="Picture 3">
              <a:hlinkClick r:id="rId2" action="ppaction://hlinkfile"/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7201" y="4628530"/>
              <a:ext cx="2588239" cy="192624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10" name="TextBox 9"/>
            <p:cNvSpPr txBox="1"/>
            <p:nvPr/>
          </p:nvSpPr>
          <p:spPr>
            <a:xfrm>
              <a:off x="3121900" y="4624393"/>
              <a:ext cx="1718340" cy="1930384"/>
            </a:xfrm>
            <a:prstGeom prst="rect">
              <a:avLst/>
            </a:prstGeom>
          </p:spPr>
          <p:txBody>
            <a:bodyPr vert="horz" wrap="square" lIns="109728" tIns="54864" rIns="109728" bIns="54864" rtlCol="0">
              <a:normAutofit/>
            </a:bodyPr>
            <a:lstStyle/>
            <a:p>
              <a:pPr defTabSz="548640"/>
              <a:r>
                <a:rPr lang="en-GB" sz="168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&gt;400 employees trained on </a:t>
              </a:r>
              <a:r>
                <a:rPr lang="en-GB" sz="168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Lean Six Sigma</a:t>
              </a:r>
            </a:p>
            <a:p>
              <a:pPr defTabSz="548640"/>
              <a:endParaRPr lang="en-GB" sz="1680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endParaRPr>
            </a:p>
            <a:p>
              <a:pPr defTabSz="548640"/>
              <a:r>
                <a:rPr lang="en-GB" sz="168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&gt;100 activities already automated through </a:t>
              </a:r>
              <a:r>
                <a:rPr lang="en-GB" sz="168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Virtual Employees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71803" y="4034896"/>
              <a:ext cx="4073567" cy="699837"/>
            </a:xfrm>
            <a:prstGeom prst="rect">
              <a:avLst/>
            </a:prstGeom>
          </p:spPr>
          <p:txBody>
            <a:bodyPr vert="horz" wrap="square" lIns="109728" tIns="54864" rIns="109728" bIns="54864" rtlCol="0">
              <a:noAutofit/>
            </a:bodyPr>
            <a:lstStyle/>
            <a:p>
              <a:pPr algn="ctr" defTabSz="548640"/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Combining </a:t>
              </a:r>
              <a:r>
                <a:rPr lang="en-GB" sz="192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Operational Excellence </a:t>
              </a:r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and </a:t>
              </a:r>
              <a:r>
                <a:rPr lang="en-GB" sz="192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Automation. </a:t>
              </a:r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Meet our </a:t>
              </a:r>
              <a:r>
                <a:rPr lang="en-GB" sz="1920" dirty="0">
                  <a:solidFill>
                    <a:srgbClr val="FF0000"/>
                  </a:solidFill>
                  <a:latin typeface="Arial"/>
                </a:rPr>
                <a:t>Ninjas &amp; Robots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759828" y="1210290"/>
            <a:ext cx="3075695" cy="3364345"/>
            <a:chOff x="5590205" y="3769035"/>
            <a:chExt cx="2563079" cy="2803621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878237" y="4617762"/>
              <a:ext cx="2000356" cy="195489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1" name="TextBox 20"/>
            <p:cNvSpPr txBox="1"/>
            <p:nvPr/>
          </p:nvSpPr>
          <p:spPr>
            <a:xfrm>
              <a:off x="5590205" y="3769035"/>
              <a:ext cx="2563079" cy="851920"/>
            </a:xfrm>
            <a:prstGeom prst="rect">
              <a:avLst/>
            </a:prstGeom>
          </p:spPr>
          <p:txBody>
            <a:bodyPr vert="horz" wrap="square" lIns="109728" tIns="54864" rIns="109728" bIns="54864" rtlCol="0">
              <a:noAutofit/>
            </a:bodyPr>
            <a:lstStyle/>
            <a:p>
              <a:pPr algn="ctr" defTabSz="548640"/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Implementing </a:t>
              </a:r>
              <a:r>
                <a:rPr lang="en-GB" sz="192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best in class tool</a:t>
              </a:r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 (SAP Concur) to </a:t>
              </a:r>
              <a:r>
                <a:rPr lang="en-GB" sz="192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optimise T&amp;E process</a:t>
              </a:r>
              <a:endParaRPr lang="en-GB" sz="192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90" t="40368" r="9277"/>
          <a:stretch/>
        </p:blipFill>
        <p:spPr>
          <a:xfrm>
            <a:off x="1993323" y="1549958"/>
            <a:ext cx="3686806" cy="2009237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8772549" y="1550993"/>
            <a:ext cx="3998070" cy="3082102"/>
            <a:chOff x="2542647" y="-1628789"/>
            <a:chExt cx="3331725" cy="2568418"/>
          </a:xfrm>
        </p:grpSpPr>
        <p:sp>
          <p:nvSpPr>
            <p:cNvPr id="19" name="TextBox 18"/>
            <p:cNvSpPr txBox="1"/>
            <p:nvPr/>
          </p:nvSpPr>
          <p:spPr>
            <a:xfrm>
              <a:off x="2542647" y="95890"/>
              <a:ext cx="3331725" cy="843739"/>
            </a:xfrm>
            <a:prstGeom prst="rect">
              <a:avLst/>
            </a:prstGeom>
          </p:spPr>
          <p:txBody>
            <a:bodyPr vert="horz" wrap="square" lIns="109728" tIns="54864" rIns="109728" bIns="54864" rtlCol="0">
              <a:normAutofit/>
            </a:bodyPr>
            <a:lstStyle/>
            <a:p>
              <a:pPr algn="ctr" defTabSz="548640"/>
              <a:r>
                <a:rPr lang="en-GB" sz="192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Route settlement optimisation </a:t>
              </a:r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enabled by in-country use of handheld &amp; iPhone app technology </a:t>
              </a: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702692" y="-1628789"/>
              <a:ext cx="2955921" cy="167436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grpSp>
        <p:nvGrpSpPr>
          <p:cNvPr id="7" name="Group 6"/>
          <p:cNvGrpSpPr/>
          <p:nvPr/>
        </p:nvGrpSpPr>
        <p:grpSpPr>
          <a:xfrm>
            <a:off x="2013418" y="4806077"/>
            <a:ext cx="4956144" cy="3125647"/>
            <a:chOff x="4728364" y="1112326"/>
            <a:chExt cx="4130120" cy="2604706"/>
          </a:xfrm>
        </p:grpSpPr>
        <p:sp>
          <p:nvSpPr>
            <p:cNvPr id="11" name="TextBox 10"/>
            <p:cNvSpPr txBox="1"/>
            <p:nvPr/>
          </p:nvSpPr>
          <p:spPr>
            <a:xfrm>
              <a:off x="4728364" y="1112326"/>
              <a:ext cx="4130120" cy="699837"/>
            </a:xfrm>
            <a:prstGeom prst="rect">
              <a:avLst/>
            </a:prstGeom>
          </p:spPr>
          <p:txBody>
            <a:bodyPr vert="horz" wrap="square" lIns="109728" tIns="54864" rIns="109728" bIns="54864" rtlCol="0">
              <a:normAutofit/>
            </a:bodyPr>
            <a:lstStyle/>
            <a:p>
              <a:pPr algn="ctr" defTabSz="548640"/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Delivering </a:t>
              </a:r>
              <a:r>
                <a:rPr lang="en-GB" sz="1920" b="1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business insights </a:t>
              </a:r>
              <a:r>
                <a:rPr lang="en-GB" sz="1920" dirty="0">
                  <a:solidFill>
                    <a:prstClr val="black">
                      <a:lumMod val="85000"/>
                      <a:lumOff val="15000"/>
                    </a:prstClr>
                  </a:solidFill>
                  <a:latin typeface="Arial"/>
                </a:rPr>
                <a:t>through reporting and analytics capabilities (CoE)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728365" y="1698077"/>
              <a:ext cx="4130119" cy="2018955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013418" y="3702632"/>
            <a:ext cx="3661243" cy="839804"/>
          </a:xfrm>
          <a:prstGeom prst="rect">
            <a:avLst/>
          </a:prstGeom>
        </p:spPr>
        <p:txBody>
          <a:bodyPr vert="horz" wrap="square" lIns="109728" tIns="54864" rIns="109728" bIns="54864" rtlCol="0">
            <a:normAutofit/>
          </a:bodyPr>
          <a:lstStyle/>
          <a:p>
            <a:pPr algn="ctr" defTabSz="548640"/>
            <a:r>
              <a:rPr lang="en-GB" sz="1920" b="1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Fast close </a:t>
            </a:r>
            <a:r>
              <a:rPr lang="en-GB" sz="1920" dirty="0">
                <a:solidFill>
                  <a:prstClr val="black">
                    <a:lumMod val="85000"/>
                    <a:lumOff val="15000"/>
                  </a:prstClr>
                </a:solidFill>
                <a:latin typeface="Arial"/>
              </a:rPr>
              <a:t>and journal entry optimisation</a:t>
            </a:r>
          </a:p>
        </p:txBody>
      </p:sp>
    </p:spTree>
    <p:extLst>
      <p:ext uri="{BB962C8B-B14F-4D97-AF65-F5344CB8AC3E}">
        <p14:creationId xmlns:p14="http://schemas.microsoft.com/office/powerpoint/2010/main" val="25523340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30230" y="1030130"/>
          <a:ext cx="1429" cy="14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45" name="Object 4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30230" y="1030130"/>
                        <a:ext cx="1429" cy="14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3"/>
            </p:custDataLst>
          </p:nvPr>
        </p:nvSpPr>
        <p:spPr>
          <a:xfrm>
            <a:off x="1828800" y="1028700"/>
            <a:ext cx="142876" cy="142876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48640">
              <a:spcBef>
                <a:spcPct val="0"/>
              </a:spcBef>
              <a:spcAft>
                <a:spcPct val="0"/>
              </a:spcAft>
            </a:pPr>
            <a:endParaRPr lang="en-GB" sz="240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64322"/>
            <a:ext cx="11963400" cy="950596"/>
          </a:xfrm>
        </p:spPr>
        <p:txBody>
          <a:bodyPr>
            <a:noAutofit/>
          </a:bodyPr>
          <a:lstStyle/>
          <a:p>
            <a:r>
              <a:rPr lang="en-GB" sz="3600" b="1" dirty="0"/>
              <a:t>Our Central Finance &amp; BPC journey will enable a </a:t>
            </a:r>
            <a:br>
              <a:rPr lang="en-GB" sz="3600" b="1" dirty="0"/>
            </a:br>
            <a:r>
              <a:rPr lang="en-GB" sz="3600" b="1" dirty="0"/>
              <a:t>step-change in capabilities and further unlock value</a:t>
            </a:r>
          </a:p>
        </p:txBody>
      </p:sp>
      <p:grpSp>
        <p:nvGrpSpPr>
          <p:cNvPr id="3" name="Group 776">
            <a:extLst>
              <a:ext uri="{FF2B5EF4-FFF2-40B4-BE49-F238E27FC236}">
                <a16:creationId xmlns:a16="http://schemas.microsoft.com/office/drawing/2014/main" id="{7B1EC8A5-64FE-4279-9CE0-F2BDA4BEFA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83872" y="3941981"/>
            <a:ext cx="457362" cy="435840"/>
            <a:chOff x="4763" y="993776"/>
            <a:chExt cx="1174750" cy="1284287"/>
          </a:xfrm>
          <a:solidFill>
            <a:srgbClr val="F40009"/>
          </a:solidFill>
        </p:grpSpPr>
        <p:sp>
          <p:nvSpPr>
            <p:cNvPr id="4" name="Freeform 777">
              <a:extLst>
                <a:ext uri="{FF2B5EF4-FFF2-40B4-BE49-F238E27FC236}">
                  <a16:creationId xmlns:a16="http://schemas.microsoft.com/office/drawing/2014/main" id="{D66468CC-5E2F-4DD1-B6F8-2DA39B40C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113" y="2101851"/>
              <a:ext cx="0" cy="4763"/>
            </a:xfrm>
            <a:custGeom>
              <a:avLst/>
              <a:gdLst>
                <a:gd name="T0" fmla="*/ 2147483646 h 3"/>
                <a:gd name="T1" fmla="*/ 2147483646 h 3"/>
                <a:gd name="T2" fmla="*/ 0 h 3"/>
                <a:gd name="T3" fmla="*/ 2147483646 h 3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" name="Freeform 778">
              <a:extLst>
                <a:ext uri="{FF2B5EF4-FFF2-40B4-BE49-F238E27FC236}">
                  <a16:creationId xmlns:a16="http://schemas.microsoft.com/office/drawing/2014/main" id="{CBBF9C49-24E3-45EA-8B3E-3F0B9B819E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" y="2078038"/>
              <a:ext cx="9525" cy="19050"/>
            </a:xfrm>
            <a:custGeom>
              <a:avLst/>
              <a:gdLst>
                <a:gd name="T0" fmla="*/ 2147483646 w 2"/>
                <a:gd name="T1" fmla="*/ 0 h 4"/>
                <a:gd name="T2" fmla="*/ 2147483646 w 2"/>
                <a:gd name="T3" fmla="*/ 2147483646 h 4"/>
                <a:gd name="T4" fmla="*/ 2147483646 w 2"/>
                <a:gd name="T5" fmla="*/ 2147483646 h 4"/>
                <a:gd name="T6" fmla="*/ 2147483646 w 2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cubicBezTo>
                    <a:pt x="1" y="1"/>
                    <a:pt x="1" y="0"/>
                    <a:pt x="1" y="1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3"/>
                    <a:pt x="0" y="1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" name="Freeform 779">
              <a:extLst>
                <a:ext uri="{FF2B5EF4-FFF2-40B4-BE49-F238E27FC236}">
                  <a16:creationId xmlns:a16="http://schemas.microsoft.com/office/drawing/2014/main" id="{34FC5A7B-09B2-4DD2-8291-BBE97BC67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" y="2063751"/>
              <a:ext cx="4763" cy="14288"/>
            </a:xfrm>
            <a:custGeom>
              <a:avLst/>
              <a:gdLst>
                <a:gd name="T0" fmla="*/ 2147483646 w 1"/>
                <a:gd name="T1" fmla="*/ 2147483646 h 3"/>
                <a:gd name="T2" fmla="*/ 2147483646 w 1"/>
                <a:gd name="T3" fmla="*/ 0 h 3"/>
                <a:gd name="T4" fmla="*/ 2147483646 w 1"/>
                <a:gd name="T5" fmla="*/ 2147483646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3">
                  <a:moveTo>
                    <a:pt x="1" y="2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3"/>
                    <a:pt x="1" y="2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" name="Freeform 780">
              <a:extLst>
                <a:ext uri="{FF2B5EF4-FFF2-40B4-BE49-F238E27FC236}">
                  <a16:creationId xmlns:a16="http://schemas.microsoft.com/office/drawing/2014/main" id="{9245BFAF-5FAB-4B3A-B276-EEC002C66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113" y="1524001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" name="Freeform 781">
              <a:extLst>
                <a:ext uri="{FF2B5EF4-FFF2-40B4-BE49-F238E27FC236}">
                  <a16:creationId xmlns:a16="http://schemas.microsoft.com/office/drawing/2014/main" id="{606E7032-D7EE-4FAB-B6F8-7CB817E43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38" y="1244601"/>
              <a:ext cx="866775" cy="866775"/>
            </a:xfrm>
            <a:custGeom>
              <a:avLst/>
              <a:gdLst>
                <a:gd name="T0" fmla="*/ 2147483646 w 183"/>
                <a:gd name="T1" fmla="*/ 2147483646 h 183"/>
                <a:gd name="T2" fmla="*/ 2147483646 w 183"/>
                <a:gd name="T3" fmla="*/ 2147483646 h 183"/>
                <a:gd name="T4" fmla="*/ 2147483646 w 183"/>
                <a:gd name="T5" fmla="*/ 2147483646 h 183"/>
                <a:gd name="T6" fmla="*/ 2147483646 w 183"/>
                <a:gd name="T7" fmla="*/ 2147483646 h 183"/>
                <a:gd name="T8" fmla="*/ 2147483646 w 183"/>
                <a:gd name="T9" fmla="*/ 2147483646 h 183"/>
                <a:gd name="T10" fmla="*/ 2147483646 w 183"/>
                <a:gd name="T11" fmla="*/ 2147483646 h 183"/>
                <a:gd name="T12" fmla="*/ 2147483646 w 183"/>
                <a:gd name="T13" fmla="*/ 2147483646 h 183"/>
                <a:gd name="T14" fmla="*/ 2147483646 w 183"/>
                <a:gd name="T15" fmla="*/ 2147483646 h 183"/>
                <a:gd name="T16" fmla="*/ 2147483646 w 183"/>
                <a:gd name="T17" fmla="*/ 2147483646 h 183"/>
                <a:gd name="T18" fmla="*/ 2147483646 w 183"/>
                <a:gd name="T19" fmla="*/ 2147483646 h 183"/>
                <a:gd name="T20" fmla="*/ 2147483646 w 183"/>
                <a:gd name="T21" fmla="*/ 2147483646 h 183"/>
                <a:gd name="T22" fmla="*/ 2147483646 w 183"/>
                <a:gd name="T23" fmla="*/ 2147483646 h 183"/>
                <a:gd name="T24" fmla="*/ 2147483646 w 183"/>
                <a:gd name="T25" fmla="*/ 2147483646 h 183"/>
                <a:gd name="T26" fmla="*/ 2147483646 w 183"/>
                <a:gd name="T27" fmla="*/ 2147483646 h 183"/>
                <a:gd name="T28" fmla="*/ 2147483646 w 183"/>
                <a:gd name="T29" fmla="*/ 2147483646 h 183"/>
                <a:gd name="T30" fmla="*/ 2147483646 w 183"/>
                <a:gd name="T31" fmla="*/ 2147483646 h 183"/>
                <a:gd name="T32" fmla="*/ 2147483646 w 183"/>
                <a:gd name="T33" fmla="*/ 2147483646 h 183"/>
                <a:gd name="T34" fmla="*/ 2147483646 w 183"/>
                <a:gd name="T35" fmla="*/ 2147483646 h 183"/>
                <a:gd name="T36" fmla="*/ 2147483646 w 183"/>
                <a:gd name="T37" fmla="*/ 2147483646 h 183"/>
                <a:gd name="T38" fmla="*/ 2147483646 w 183"/>
                <a:gd name="T39" fmla="*/ 2147483646 h 183"/>
                <a:gd name="T40" fmla="*/ 2147483646 w 183"/>
                <a:gd name="T41" fmla="*/ 2147483646 h 183"/>
                <a:gd name="T42" fmla="*/ 2147483646 w 183"/>
                <a:gd name="T43" fmla="*/ 2147483646 h 183"/>
                <a:gd name="T44" fmla="*/ 2147483646 w 183"/>
                <a:gd name="T45" fmla="*/ 2147483646 h 183"/>
                <a:gd name="T46" fmla="*/ 2147483646 w 183"/>
                <a:gd name="T47" fmla="*/ 2147483646 h 183"/>
                <a:gd name="T48" fmla="*/ 2147483646 w 183"/>
                <a:gd name="T49" fmla="*/ 2147483646 h 183"/>
                <a:gd name="T50" fmla="*/ 2147483646 w 183"/>
                <a:gd name="T51" fmla="*/ 2147483646 h 183"/>
                <a:gd name="T52" fmla="*/ 2147483646 w 183"/>
                <a:gd name="T53" fmla="*/ 2147483646 h 183"/>
                <a:gd name="T54" fmla="*/ 2147483646 w 183"/>
                <a:gd name="T55" fmla="*/ 2147483646 h 183"/>
                <a:gd name="T56" fmla="*/ 2147483646 w 183"/>
                <a:gd name="T57" fmla="*/ 2147483646 h 183"/>
                <a:gd name="T58" fmla="*/ 2147483646 w 183"/>
                <a:gd name="T59" fmla="*/ 2147483646 h 183"/>
                <a:gd name="T60" fmla="*/ 2147483646 w 183"/>
                <a:gd name="T61" fmla="*/ 2147483646 h 183"/>
                <a:gd name="T62" fmla="*/ 2147483646 w 183"/>
                <a:gd name="T63" fmla="*/ 2147483646 h 183"/>
                <a:gd name="T64" fmla="*/ 2147483646 w 183"/>
                <a:gd name="T65" fmla="*/ 2147483646 h 183"/>
                <a:gd name="T66" fmla="*/ 2147483646 w 183"/>
                <a:gd name="T67" fmla="*/ 2147483646 h 183"/>
                <a:gd name="T68" fmla="*/ 2147483646 w 183"/>
                <a:gd name="T69" fmla="*/ 2147483646 h 183"/>
                <a:gd name="T70" fmla="*/ 2147483646 w 183"/>
                <a:gd name="T71" fmla="*/ 2147483646 h 183"/>
                <a:gd name="T72" fmla="*/ 2147483646 w 183"/>
                <a:gd name="T73" fmla="*/ 2147483646 h 183"/>
                <a:gd name="T74" fmla="*/ 2147483646 w 183"/>
                <a:gd name="T75" fmla="*/ 2147483646 h 183"/>
                <a:gd name="T76" fmla="*/ 2147483646 w 183"/>
                <a:gd name="T77" fmla="*/ 2147483646 h 183"/>
                <a:gd name="T78" fmla="*/ 2147483646 w 183"/>
                <a:gd name="T79" fmla="*/ 2147483646 h 183"/>
                <a:gd name="T80" fmla="*/ 2147483646 w 183"/>
                <a:gd name="T81" fmla="*/ 2147483646 h 183"/>
                <a:gd name="T82" fmla="*/ 2147483646 w 183"/>
                <a:gd name="T83" fmla="*/ 2147483646 h 183"/>
                <a:gd name="T84" fmla="*/ 2147483646 w 183"/>
                <a:gd name="T85" fmla="*/ 2147483646 h 183"/>
                <a:gd name="T86" fmla="*/ 2147483646 w 183"/>
                <a:gd name="T87" fmla="*/ 2147483646 h 183"/>
                <a:gd name="T88" fmla="*/ 2147483646 w 183"/>
                <a:gd name="T89" fmla="*/ 2147483646 h 183"/>
                <a:gd name="T90" fmla="*/ 2147483646 w 183"/>
                <a:gd name="T91" fmla="*/ 2147483646 h 18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83" h="183">
                  <a:moveTo>
                    <a:pt x="181" y="28"/>
                  </a:moveTo>
                  <a:cubicBezTo>
                    <a:pt x="181" y="28"/>
                    <a:pt x="181" y="28"/>
                    <a:pt x="181" y="28"/>
                  </a:cubicBezTo>
                  <a:cubicBezTo>
                    <a:pt x="182" y="34"/>
                    <a:pt x="181" y="40"/>
                    <a:pt x="181" y="46"/>
                  </a:cubicBezTo>
                  <a:cubicBezTo>
                    <a:pt x="181" y="46"/>
                    <a:pt x="181" y="46"/>
                    <a:pt x="181" y="46"/>
                  </a:cubicBezTo>
                  <a:cubicBezTo>
                    <a:pt x="181" y="61"/>
                    <a:pt x="182" y="75"/>
                    <a:pt x="182" y="90"/>
                  </a:cubicBezTo>
                  <a:cubicBezTo>
                    <a:pt x="182" y="90"/>
                    <a:pt x="182" y="90"/>
                    <a:pt x="182" y="90"/>
                  </a:cubicBezTo>
                  <a:cubicBezTo>
                    <a:pt x="182" y="90"/>
                    <a:pt x="182" y="91"/>
                    <a:pt x="182" y="92"/>
                  </a:cubicBezTo>
                  <a:cubicBezTo>
                    <a:pt x="182" y="92"/>
                    <a:pt x="182" y="92"/>
                    <a:pt x="182" y="91"/>
                  </a:cubicBezTo>
                  <a:cubicBezTo>
                    <a:pt x="181" y="95"/>
                    <a:pt x="182" y="101"/>
                    <a:pt x="182" y="103"/>
                  </a:cubicBezTo>
                  <a:cubicBezTo>
                    <a:pt x="182" y="104"/>
                    <a:pt x="182" y="104"/>
                    <a:pt x="182" y="104"/>
                  </a:cubicBezTo>
                  <a:cubicBezTo>
                    <a:pt x="182" y="115"/>
                    <a:pt x="182" y="128"/>
                    <a:pt x="183" y="140"/>
                  </a:cubicBezTo>
                  <a:cubicBezTo>
                    <a:pt x="183" y="141"/>
                    <a:pt x="183" y="141"/>
                    <a:pt x="182" y="141"/>
                  </a:cubicBezTo>
                  <a:cubicBezTo>
                    <a:pt x="183" y="151"/>
                    <a:pt x="183" y="162"/>
                    <a:pt x="183" y="172"/>
                  </a:cubicBezTo>
                  <a:cubicBezTo>
                    <a:pt x="183" y="173"/>
                    <a:pt x="183" y="171"/>
                    <a:pt x="183" y="172"/>
                  </a:cubicBezTo>
                  <a:cubicBezTo>
                    <a:pt x="183" y="169"/>
                    <a:pt x="183" y="166"/>
                    <a:pt x="183" y="163"/>
                  </a:cubicBezTo>
                  <a:cubicBezTo>
                    <a:pt x="183" y="163"/>
                    <a:pt x="183" y="163"/>
                    <a:pt x="183" y="163"/>
                  </a:cubicBezTo>
                  <a:cubicBezTo>
                    <a:pt x="183" y="161"/>
                    <a:pt x="183" y="163"/>
                    <a:pt x="183" y="161"/>
                  </a:cubicBezTo>
                  <a:cubicBezTo>
                    <a:pt x="183" y="160"/>
                    <a:pt x="183" y="161"/>
                    <a:pt x="183" y="160"/>
                  </a:cubicBezTo>
                  <a:cubicBezTo>
                    <a:pt x="183" y="156"/>
                    <a:pt x="183" y="151"/>
                    <a:pt x="183" y="146"/>
                  </a:cubicBezTo>
                  <a:cubicBezTo>
                    <a:pt x="183" y="145"/>
                    <a:pt x="183" y="141"/>
                    <a:pt x="183" y="139"/>
                  </a:cubicBezTo>
                  <a:cubicBezTo>
                    <a:pt x="183" y="138"/>
                    <a:pt x="183" y="137"/>
                    <a:pt x="183" y="136"/>
                  </a:cubicBezTo>
                  <a:cubicBezTo>
                    <a:pt x="183" y="120"/>
                    <a:pt x="183" y="103"/>
                    <a:pt x="183" y="86"/>
                  </a:cubicBezTo>
                  <a:cubicBezTo>
                    <a:pt x="182" y="78"/>
                    <a:pt x="183" y="68"/>
                    <a:pt x="183" y="59"/>
                  </a:cubicBezTo>
                  <a:cubicBezTo>
                    <a:pt x="183" y="59"/>
                    <a:pt x="183" y="59"/>
                    <a:pt x="183" y="59"/>
                  </a:cubicBezTo>
                  <a:cubicBezTo>
                    <a:pt x="182" y="56"/>
                    <a:pt x="182" y="51"/>
                    <a:pt x="182" y="48"/>
                  </a:cubicBezTo>
                  <a:cubicBezTo>
                    <a:pt x="182" y="44"/>
                    <a:pt x="182" y="44"/>
                    <a:pt x="182" y="44"/>
                  </a:cubicBezTo>
                  <a:cubicBezTo>
                    <a:pt x="182" y="37"/>
                    <a:pt x="182" y="30"/>
                    <a:pt x="183" y="23"/>
                  </a:cubicBezTo>
                  <a:cubicBezTo>
                    <a:pt x="183" y="16"/>
                    <a:pt x="183" y="8"/>
                    <a:pt x="183" y="1"/>
                  </a:cubicBezTo>
                  <a:cubicBezTo>
                    <a:pt x="178" y="1"/>
                    <a:pt x="174" y="1"/>
                    <a:pt x="169" y="1"/>
                  </a:cubicBezTo>
                  <a:cubicBezTo>
                    <a:pt x="165" y="1"/>
                    <a:pt x="161" y="1"/>
                    <a:pt x="157" y="1"/>
                  </a:cubicBezTo>
                  <a:cubicBezTo>
                    <a:pt x="131" y="1"/>
                    <a:pt x="109" y="0"/>
                    <a:pt x="84" y="1"/>
                  </a:cubicBezTo>
                  <a:cubicBezTo>
                    <a:pt x="84" y="1"/>
                    <a:pt x="84" y="1"/>
                    <a:pt x="85" y="1"/>
                  </a:cubicBezTo>
                  <a:cubicBezTo>
                    <a:pt x="77" y="1"/>
                    <a:pt x="71" y="1"/>
                    <a:pt x="64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47" y="2"/>
                    <a:pt x="29" y="1"/>
                    <a:pt x="13" y="2"/>
                  </a:cubicBezTo>
                  <a:cubicBezTo>
                    <a:pt x="9" y="2"/>
                    <a:pt x="5" y="2"/>
                    <a:pt x="1" y="2"/>
                  </a:cubicBezTo>
                  <a:cubicBezTo>
                    <a:pt x="1" y="10"/>
                    <a:pt x="1" y="18"/>
                    <a:pt x="1" y="27"/>
                  </a:cubicBezTo>
                  <a:cubicBezTo>
                    <a:pt x="1" y="36"/>
                    <a:pt x="1" y="44"/>
                    <a:pt x="1" y="53"/>
                  </a:cubicBezTo>
                  <a:cubicBezTo>
                    <a:pt x="1" y="53"/>
                    <a:pt x="1" y="53"/>
                    <a:pt x="1" y="53"/>
                  </a:cubicBezTo>
                  <a:cubicBezTo>
                    <a:pt x="1" y="69"/>
                    <a:pt x="0" y="86"/>
                    <a:pt x="1" y="102"/>
                  </a:cubicBezTo>
                  <a:cubicBezTo>
                    <a:pt x="0" y="119"/>
                    <a:pt x="2" y="137"/>
                    <a:pt x="1" y="155"/>
                  </a:cubicBezTo>
                  <a:cubicBezTo>
                    <a:pt x="1" y="159"/>
                    <a:pt x="1" y="163"/>
                    <a:pt x="1" y="168"/>
                  </a:cubicBezTo>
                  <a:cubicBezTo>
                    <a:pt x="1" y="171"/>
                    <a:pt x="1" y="173"/>
                    <a:pt x="1" y="175"/>
                  </a:cubicBezTo>
                  <a:cubicBezTo>
                    <a:pt x="1" y="176"/>
                    <a:pt x="1" y="178"/>
                    <a:pt x="1" y="179"/>
                  </a:cubicBezTo>
                  <a:cubicBezTo>
                    <a:pt x="1" y="180"/>
                    <a:pt x="1" y="181"/>
                    <a:pt x="2" y="182"/>
                  </a:cubicBezTo>
                  <a:cubicBezTo>
                    <a:pt x="2" y="182"/>
                    <a:pt x="3" y="182"/>
                    <a:pt x="3" y="182"/>
                  </a:cubicBezTo>
                  <a:cubicBezTo>
                    <a:pt x="4" y="182"/>
                    <a:pt x="4" y="182"/>
                    <a:pt x="5" y="182"/>
                  </a:cubicBezTo>
                  <a:cubicBezTo>
                    <a:pt x="6" y="182"/>
                    <a:pt x="7" y="182"/>
                    <a:pt x="8" y="182"/>
                  </a:cubicBezTo>
                  <a:cubicBezTo>
                    <a:pt x="29" y="183"/>
                    <a:pt x="49" y="183"/>
                    <a:pt x="70" y="182"/>
                  </a:cubicBezTo>
                  <a:cubicBezTo>
                    <a:pt x="89" y="182"/>
                    <a:pt x="108" y="181"/>
                    <a:pt x="126" y="182"/>
                  </a:cubicBezTo>
                  <a:cubicBezTo>
                    <a:pt x="135" y="181"/>
                    <a:pt x="144" y="183"/>
                    <a:pt x="154" y="183"/>
                  </a:cubicBezTo>
                  <a:cubicBezTo>
                    <a:pt x="154" y="182"/>
                    <a:pt x="154" y="182"/>
                    <a:pt x="154" y="182"/>
                  </a:cubicBezTo>
                  <a:cubicBezTo>
                    <a:pt x="157" y="183"/>
                    <a:pt x="162" y="182"/>
                    <a:pt x="164" y="182"/>
                  </a:cubicBezTo>
                  <a:cubicBezTo>
                    <a:pt x="163" y="183"/>
                    <a:pt x="163" y="183"/>
                    <a:pt x="163" y="183"/>
                  </a:cubicBezTo>
                  <a:cubicBezTo>
                    <a:pt x="165" y="183"/>
                    <a:pt x="168" y="181"/>
                    <a:pt x="169" y="182"/>
                  </a:cubicBezTo>
                  <a:cubicBezTo>
                    <a:pt x="169" y="182"/>
                    <a:pt x="169" y="182"/>
                    <a:pt x="169" y="182"/>
                  </a:cubicBezTo>
                  <a:cubicBezTo>
                    <a:pt x="171" y="182"/>
                    <a:pt x="169" y="182"/>
                    <a:pt x="171" y="182"/>
                  </a:cubicBezTo>
                  <a:cubicBezTo>
                    <a:pt x="172" y="182"/>
                    <a:pt x="171" y="182"/>
                    <a:pt x="173" y="182"/>
                  </a:cubicBezTo>
                  <a:cubicBezTo>
                    <a:pt x="173" y="183"/>
                    <a:pt x="178" y="182"/>
                    <a:pt x="178" y="183"/>
                  </a:cubicBezTo>
                  <a:cubicBezTo>
                    <a:pt x="177" y="183"/>
                    <a:pt x="180" y="183"/>
                    <a:pt x="177" y="183"/>
                  </a:cubicBezTo>
                  <a:cubicBezTo>
                    <a:pt x="178" y="183"/>
                    <a:pt x="182" y="183"/>
                    <a:pt x="182" y="183"/>
                  </a:cubicBezTo>
                  <a:cubicBezTo>
                    <a:pt x="182" y="182"/>
                    <a:pt x="183" y="182"/>
                    <a:pt x="181" y="182"/>
                  </a:cubicBezTo>
                  <a:cubicBezTo>
                    <a:pt x="181" y="182"/>
                    <a:pt x="181" y="182"/>
                    <a:pt x="181" y="182"/>
                  </a:cubicBezTo>
                  <a:cubicBezTo>
                    <a:pt x="180" y="182"/>
                    <a:pt x="180" y="182"/>
                    <a:pt x="180" y="182"/>
                  </a:cubicBezTo>
                  <a:cubicBezTo>
                    <a:pt x="177" y="181"/>
                    <a:pt x="176" y="181"/>
                    <a:pt x="174" y="181"/>
                  </a:cubicBezTo>
                  <a:cubicBezTo>
                    <a:pt x="174" y="181"/>
                    <a:pt x="174" y="181"/>
                    <a:pt x="174" y="181"/>
                  </a:cubicBezTo>
                  <a:cubicBezTo>
                    <a:pt x="173" y="181"/>
                    <a:pt x="171" y="181"/>
                    <a:pt x="170" y="181"/>
                  </a:cubicBezTo>
                  <a:cubicBezTo>
                    <a:pt x="169" y="181"/>
                    <a:pt x="169" y="181"/>
                    <a:pt x="169" y="181"/>
                  </a:cubicBezTo>
                  <a:cubicBezTo>
                    <a:pt x="169" y="180"/>
                    <a:pt x="166" y="182"/>
                    <a:pt x="167" y="181"/>
                  </a:cubicBezTo>
                  <a:cubicBezTo>
                    <a:pt x="161" y="181"/>
                    <a:pt x="154" y="181"/>
                    <a:pt x="147" y="181"/>
                  </a:cubicBezTo>
                  <a:cubicBezTo>
                    <a:pt x="146" y="181"/>
                    <a:pt x="142" y="181"/>
                    <a:pt x="143" y="181"/>
                  </a:cubicBezTo>
                  <a:cubicBezTo>
                    <a:pt x="142" y="181"/>
                    <a:pt x="137" y="181"/>
                    <a:pt x="135" y="181"/>
                  </a:cubicBezTo>
                  <a:cubicBezTo>
                    <a:pt x="135" y="181"/>
                    <a:pt x="135" y="181"/>
                    <a:pt x="135" y="181"/>
                  </a:cubicBezTo>
                  <a:cubicBezTo>
                    <a:pt x="132" y="180"/>
                    <a:pt x="131" y="181"/>
                    <a:pt x="128" y="180"/>
                  </a:cubicBezTo>
                  <a:cubicBezTo>
                    <a:pt x="127" y="181"/>
                    <a:pt x="121" y="180"/>
                    <a:pt x="119" y="181"/>
                  </a:cubicBezTo>
                  <a:cubicBezTo>
                    <a:pt x="119" y="181"/>
                    <a:pt x="119" y="181"/>
                    <a:pt x="119" y="181"/>
                  </a:cubicBezTo>
                  <a:cubicBezTo>
                    <a:pt x="113" y="181"/>
                    <a:pt x="106" y="180"/>
                    <a:pt x="101" y="180"/>
                  </a:cubicBezTo>
                  <a:cubicBezTo>
                    <a:pt x="97" y="181"/>
                    <a:pt x="90" y="180"/>
                    <a:pt x="87" y="181"/>
                  </a:cubicBezTo>
                  <a:cubicBezTo>
                    <a:pt x="83" y="181"/>
                    <a:pt x="78" y="180"/>
                    <a:pt x="74" y="181"/>
                  </a:cubicBezTo>
                  <a:cubicBezTo>
                    <a:pt x="74" y="181"/>
                    <a:pt x="74" y="181"/>
                    <a:pt x="74" y="181"/>
                  </a:cubicBezTo>
                  <a:cubicBezTo>
                    <a:pt x="69" y="181"/>
                    <a:pt x="63" y="181"/>
                    <a:pt x="60" y="181"/>
                  </a:cubicBezTo>
                  <a:cubicBezTo>
                    <a:pt x="58" y="180"/>
                    <a:pt x="56" y="181"/>
                    <a:pt x="54" y="180"/>
                  </a:cubicBezTo>
                  <a:cubicBezTo>
                    <a:pt x="51" y="181"/>
                    <a:pt x="44" y="181"/>
                    <a:pt x="39" y="181"/>
                  </a:cubicBezTo>
                  <a:cubicBezTo>
                    <a:pt x="38" y="181"/>
                    <a:pt x="35" y="181"/>
                    <a:pt x="35" y="181"/>
                  </a:cubicBezTo>
                  <a:cubicBezTo>
                    <a:pt x="30" y="181"/>
                    <a:pt x="24" y="181"/>
                    <a:pt x="18" y="181"/>
                  </a:cubicBezTo>
                  <a:cubicBezTo>
                    <a:pt x="16" y="181"/>
                    <a:pt x="13" y="181"/>
                    <a:pt x="10" y="181"/>
                  </a:cubicBezTo>
                  <a:cubicBezTo>
                    <a:pt x="6" y="181"/>
                    <a:pt x="6" y="181"/>
                    <a:pt x="6" y="181"/>
                  </a:cubicBezTo>
                  <a:cubicBezTo>
                    <a:pt x="3" y="181"/>
                    <a:pt x="3" y="181"/>
                    <a:pt x="3" y="181"/>
                  </a:cubicBezTo>
                  <a:cubicBezTo>
                    <a:pt x="3" y="181"/>
                    <a:pt x="3" y="181"/>
                    <a:pt x="3" y="181"/>
                  </a:cubicBezTo>
                  <a:cubicBezTo>
                    <a:pt x="3" y="181"/>
                    <a:pt x="3" y="181"/>
                    <a:pt x="3" y="181"/>
                  </a:cubicBezTo>
                  <a:cubicBezTo>
                    <a:pt x="3" y="181"/>
                    <a:pt x="3" y="181"/>
                    <a:pt x="3" y="181"/>
                  </a:cubicBezTo>
                  <a:cubicBezTo>
                    <a:pt x="2" y="181"/>
                    <a:pt x="2" y="181"/>
                    <a:pt x="2" y="181"/>
                  </a:cubicBezTo>
                  <a:cubicBezTo>
                    <a:pt x="3" y="177"/>
                    <a:pt x="3" y="173"/>
                    <a:pt x="3" y="169"/>
                  </a:cubicBezTo>
                  <a:cubicBezTo>
                    <a:pt x="3" y="169"/>
                    <a:pt x="3" y="169"/>
                    <a:pt x="3" y="169"/>
                  </a:cubicBezTo>
                  <a:cubicBezTo>
                    <a:pt x="3" y="167"/>
                    <a:pt x="2" y="165"/>
                    <a:pt x="2" y="163"/>
                  </a:cubicBezTo>
                  <a:cubicBezTo>
                    <a:pt x="2" y="163"/>
                    <a:pt x="2" y="163"/>
                    <a:pt x="2" y="163"/>
                  </a:cubicBezTo>
                  <a:cubicBezTo>
                    <a:pt x="2" y="160"/>
                    <a:pt x="2" y="158"/>
                    <a:pt x="2" y="155"/>
                  </a:cubicBezTo>
                  <a:cubicBezTo>
                    <a:pt x="2" y="155"/>
                    <a:pt x="2" y="155"/>
                    <a:pt x="2" y="155"/>
                  </a:cubicBezTo>
                  <a:cubicBezTo>
                    <a:pt x="2" y="153"/>
                    <a:pt x="3" y="150"/>
                    <a:pt x="2" y="147"/>
                  </a:cubicBezTo>
                  <a:cubicBezTo>
                    <a:pt x="3" y="147"/>
                    <a:pt x="3" y="147"/>
                    <a:pt x="3" y="147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3" y="145"/>
                    <a:pt x="3" y="145"/>
                    <a:pt x="3" y="146"/>
                  </a:cubicBezTo>
                  <a:cubicBezTo>
                    <a:pt x="3" y="122"/>
                    <a:pt x="2" y="98"/>
                    <a:pt x="2" y="74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64"/>
                    <a:pt x="2" y="58"/>
                    <a:pt x="2" y="52"/>
                  </a:cubicBezTo>
                  <a:cubicBezTo>
                    <a:pt x="2" y="52"/>
                    <a:pt x="2" y="53"/>
                    <a:pt x="2" y="52"/>
                  </a:cubicBezTo>
                  <a:cubicBezTo>
                    <a:pt x="2" y="48"/>
                    <a:pt x="3" y="45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31"/>
                    <a:pt x="2" y="19"/>
                    <a:pt x="2" y="7"/>
                  </a:cubicBezTo>
                  <a:cubicBezTo>
                    <a:pt x="2" y="5"/>
                    <a:pt x="2" y="4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7" y="2"/>
                    <a:pt x="8" y="2"/>
                  </a:cubicBezTo>
                  <a:cubicBezTo>
                    <a:pt x="10" y="2"/>
                    <a:pt x="12" y="2"/>
                    <a:pt x="15" y="2"/>
                  </a:cubicBezTo>
                  <a:cubicBezTo>
                    <a:pt x="19" y="2"/>
                    <a:pt x="24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42" y="2"/>
                    <a:pt x="56" y="2"/>
                    <a:pt x="70" y="2"/>
                  </a:cubicBezTo>
                  <a:cubicBezTo>
                    <a:pt x="76" y="2"/>
                    <a:pt x="80" y="2"/>
                    <a:pt x="86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96" y="1"/>
                    <a:pt x="107" y="3"/>
                    <a:pt x="117" y="2"/>
                  </a:cubicBezTo>
                  <a:cubicBezTo>
                    <a:pt x="117" y="2"/>
                    <a:pt x="117" y="2"/>
                    <a:pt x="117" y="2"/>
                  </a:cubicBezTo>
                  <a:cubicBezTo>
                    <a:pt x="118" y="2"/>
                    <a:pt x="123" y="2"/>
                    <a:pt x="122" y="2"/>
                  </a:cubicBezTo>
                  <a:cubicBezTo>
                    <a:pt x="124" y="2"/>
                    <a:pt x="124" y="2"/>
                    <a:pt x="124" y="2"/>
                  </a:cubicBezTo>
                  <a:cubicBezTo>
                    <a:pt x="131" y="1"/>
                    <a:pt x="137" y="2"/>
                    <a:pt x="145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7" y="2"/>
                    <a:pt x="150" y="2"/>
                    <a:pt x="152" y="2"/>
                  </a:cubicBezTo>
                  <a:cubicBezTo>
                    <a:pt x="151" y="2"/>
                    <a:pt x="151" y="2"/>
                    <a:pt x="151" y="2"/>
                  </a:cubicBezTo>
                  <a:cubicBezTo>
                    <a:pt x="158" y="3"/>
                    <a:pt x="166" y="2"/>
                    <a:pt x="174" y="2"/>
                  </a:cubicBezTo>
                  <a:cubicBezTo>
                    <a:pt x="173" y="2"/>
                    <a:pt x="173" y="2"/>
                    <a:pt x="173" y="2"/>
                  </a:cubicBezTo>
                  <a:cubicBezTo>
                    <a:pt x="174" y="2"/>
                    <a:pt x="175" y="2"/>
                    <a:pt x="177" y="2"/>
                  </a:cubicBezTo>
                  <a:cubicBezTo>
                    <a:pt x="178" y="2"/>
                    <a:pt x="180" y="2"/>
                    <a:pt x="181" y="2"/>
                  </a:cubicBezTo>
                  <a:cubicBezTo>
                    <a:pt x="181" y="3"/>
                    <a:pt x="181" y="4"/>
                    <a:pt x="181" y="5"/>
                  </a:cubicBezTo>
                  <a:cubicBezTo>
                    <a:pt x="181" y="6"/>
                    <a:pt x="181" y="7"/>
                    <a:pt x="181" y="8"/>
                  </a:cubicBezTo>
                  <a:cubicBezTo>
                    <a:pt x="181" y="8"/>
                    <a:pt x="181" y="8"/>
                    <a:pt x="181" y="8"/>
                  </a:cubicBezTo>
                  <a:cubicBezTo>
                    <a:pt x="181" y="10"/>
                    <a:pt x="181" y="10"/>
                    <a:pt x="181" y="10"/>
                  </a:cubicBezTo>
                  <a:cubicBezTo>
                    <a:pt x="181" y="10"/>
                    <a:pt x="181" y="10"/>
                    <a:pt x="181" y="10"/>
                  </a:cubicBezTo>
                  <a:cubicBezTo>
                    <a:pt x="181" y="16"/>
                    <a:pt x="181" y="22"/>
                    <a:pt x="181" y="28"/>
                  </a:cubicBezTo>
                  <a:close/>
                </a:path>
              </a:pathLst>
            </a:custGeom>
            <a:grpFill/>
            <a:ln w="317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9" name="Freeform 782">
              <a:extLst>
                <a:ext uri="{FF2B5EF4-FFF2-40B4-BE49-F238E27FC236}">
                  <a16:creationId xmlns:a16="http://schemas.microsoft.com/office/drawing/2014/main" id="{ADB24423-5291-4D7C-A7B9-6531A47A0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2350" y="1676401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0" name="Freeform 783">
              <a:extLst>
                <a:ext uri="{FF2B5EF4-FFF2-40B4-BE49-F238E27FC236}">
                  <a16:creationId xmlns:a16="http://schemas.microsoft.com/office/drawing/2014/main" id="{89D7F32C-8683-4485-82C4-44D51DA97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250" y="2101851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1" name="Freeform 784">
              <a:extLst>
                <a:ext uri="{FF2B5EF4-FFF2-40B4-BE49-F238E27FC236}">
                  <a16:creationId xmlns:a16="http://schemas.microsoft.com/office/drawing/2014/main" id="{FCC1E9D9-B570-41F0-A80B-4F538BEDB9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9988" y="2003426"/>
              <a:ext cx="4763" cy="4763"/>
            </a:xfrm>
            <a:custGeom>
              <a:avLst/>
              <a:gdLst>
                <a:gd name="T0" fmla="*/ 2147483646 w 3"/>
                <a:gd name="T1" fmla="*/ 2147483646 h 3"/>
                <a:gd name="T2" fmla="*/ 2147483646 w 3"/>
                <a:gd name="T3" fmla="*/ 2147483646 h 3"/>
                <a:gd name="T4" fmla="*/ 0 w 3"/>
                <a:gd name="T5" fmla="*/ 0 h 3"/>
                <a:gd name="T6" fmla="*/ 2147483646 w 3"/>
                <a:gd name="T7" fmla="*/ 2147483646 h 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2" name="Freeform 785">
              <a:extLst>
                <a:ext uri="{FF2B5EF4-FFF2-40B4-BE49-F238E27FC236}">
                  <a16:creationId xmlns:a16="http://schemas.microsoft.com/office/drawing/2014/main" id="{29E61B2F-FB36-48BD-8DA5-CE10486001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463" y="1974851"/>
              <a:ext cx="19050" cy="23813"/>
            </a:xfrm>
            <a:custGeom>
              <a:avLst/>
              <a:gdLst>
                <a:gd name="T0" fmla="*/ 2147483646 w 4"/>
                <a:gd name="T1" fmla="*/ 0 h 5"/>
                <a:gd name="T2" fmla="*/ 2147483646 w 4"/>
                <a:gd name="T3" fmla="*/ 0 h 5"/>
                <a:gd name="T4" fmla="*/ 2147483646 w 4"/>
                <a:gd name="T5" fmla="*/ 2147483646 h 5"/>
                <a:gd name="T6" fmla="*/ 2147483646 w 4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3"/>
                    <a:pt x="0" y="1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3" name="Freeform 786">
              <a:extLst>
                <a:ext uri="{FF2B5EF4-FFF2-40B4-BE49-F238E27FC236}">
                  <a16:creationId xmlns:a16="http://schemas.microsoft.com/office/drawing/2014/main" id="{A2093FCE-8A30-409D-BB0B-90A41CC405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463" y="1955801"/>
              <a:ext cx="9525" cy="14288"/>
            </a:xfrm>
            <a:custGeom>
              <a:avLst/>
              <a:gdLst>
                <a:gd name="T0" fmla="*/ 2147483646 w 2"/>
                <a:gd name="T1" fmla="*/ 2147483646 h 3"/>
                <a:gd name="T2" fmla="*/ 2147483646 w 2"/>
                <a:gd name="T3" fmla="*/ 0 h 3"/>
                <a:gd name="T4" fmla="*/ 2147483646 w 2"/>
                <a:gd name="T5" fmla="*/ 2147483646 h 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0" y="3"/>
                    <a:pt x="1" y="3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4" name="Freeform 787">
              <a:extLst>
                <a:ext uri="{FF2B5EF4-FFF2-40B4-BE49-F238E27FC236}">
                  <a16:creationId xmlns:a16="http://schemas.microsoft.com/office/drawing/2014/main" id="{0D64F8CA-3984-4F7B-87ED-73446132D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5" y="1263651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5" name="Freeform 793">
              <a:extLst>
                <a:ext uri="{FF2B5EF4-FFF2-40B4-BE49-F238E27FC236}">
                  <a16:creationId xmlns:a16="http://schemas.microsoft.com/office/drawing/2014/main" id="{5D501948-FD48-40A2-B71F-233CB5F7FD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112838"/>
              <a:ext cx="1169988" cy="1165225"/>
            </a:xfrm>
            <a:custGeom>
              <a:avLst/>
              <a:gdLst>
                <a:gd name="T0" fmla="*/ 2147483646 w 247"/>
                <a:gd name="T1" fmla="*/ 2147483646 h 246"/>
                <a:gd name="T2" fmla="*/ 2147483646 w 247"/>
                <a:gd name="T3" fmla="*/ 2147483646 h 246"/>
                <a:gd name="T4" fmla="*/ 2147483646 w 247"/>
                <a:gd name="T5" fmla="*/ 2147483646 h 246"/>
                <a:gd name="T6" fmla="*/ 2147483646 w 247"/>
                <a:gd name="T7" fmla="*/ 2147483646 h 246"/>
                <a:gd name="T8" fmla="*/ 2147483646 w 247"/>
                <a:gd name="T9" fmla="*/ 2147483646 h 246"/>
                <a:gd name="T10" fmla="*/ 2147483646 w 247"/>
                <a:gd name="T11" fmla="*/ 2147483646 h 246"/>
                <a:gd name="T12" fmla="*/ 2147483646 w 247"/>
                <a:gd name="T13" fmla="*/ 2147483646 h 246"/>
                <a:gd name="T14" fmla="*/ 2147483646 w 247"/>
                <a:gd name="T15" fmla="*/ 2147483646 h 246"/>
                <a:gd name="T16" fmla="*/ 2147483646 w 247"/>
                <a:gd name="T17" fmla="*/ 2147483646 h 246"/>
                <a:gd name="T18" fmla="*/ 2147483646 w 247"/>
                <a:gd name="T19" fmla="*/ 2147483646 h 246"/>
                <a:gd name="T20" fmla="*/ 2147483646 w 247"/>
                <a:gd name="T21" fmla="*/ 2147483646 h 246"/>
                <a:gd name="T22" fmla="*/ 2147483646 w 247"/>
                <a:gd name="T23" fmla="*/ 2147483646 h 246"/>
                <a:gd name="T24" fmla="*/ 2147483646 w 247"/>
                <a:gd name="T25" fmla="*/ 2147483646 h 246"/>
                <a:gd name="T26" fmla="*/ 2147483646 w 247"/>
                <a:gd name="T27" fmla="*/ 2147483646 h 246"/>
                <a:gd name="T28" fmla="*/ 2147483646 w 247"/>
                <a:gd name="T29" fmla="*/ 2147483646 h 246"/>
                <a:gd name="T30" fmla="*/ 2147483646 w 247"/>
                <a:gd name="T31" fmla="*/ 2147483646 h 246"/>
                <a:gd name="T32" fmla="*/ 2147483646 w 247"/>
                <a:gd name="T33" fmla="*/ 2147483646 h 246"/>
                <a:gd name="T34" fmla="*/ 2147483646 w 247"/>
                <a:gd name="T35" fmla="*/ 2147483646 h 246"/>
                <a:gd name="T36" fmla="*/ 2147483646 w 247"/>
                <a:gd name="T37" fmla="*/ 2147483646 h 246"/>
                <a:gd name="T38" fmla="*/ 2147483646 w 247"/>
                <a:gd name="T39" fmla="*/ 2147483646 h 246"/>
                <a:gd name="T40" fmla="*/ 2147483646 w 247"/>
                <a:gd name="T41" fmla="*/ 2147483646 h 246"/>
                <a:gd name="T42" fmla="*/ 2147483646 w 247"/>
                <a:gd name="T43" fmla="*/ 2147483646 h 246"/>
                <a:gd name="T44" fmla="*/ 2147483646 w 247"/>
                <a:gd name="T45" fmla="*/ 2147483646 h 246"/>
                <a:gd name="T46" fmla="*/ 2147483646 w 247"/>
                <a:gd name="T47" fmla="*/ 2147483646 h 246"/>
                <a:gd name="T48" fmla="*/ 2147483646 w 247"/>
                <a:gd name="T49" fmla="*/ 2147483646 h 246"/>
                <a:gd name="T50" fmla="*/ 2147483646 w 247"/>
                <a:gd name="T51" fmla="*/ 2147483646 h 246"/>
                <a:gd name="T52" fmla="*/ 2147483646 w 247"/>
                <a:gd name="T53" fmla="*/ 2147483646 h 246"/>
                <a:gd name="T54" fmla="*/ 2147483646 w 247"/>
                <a:gd name="T55" fmla="*/ 2147483646 h 246"/>
                <a:gd name="T56" fmla="*/ 2147483646 w 247"/>
                <a:gd name="T57" fmla="*/ 2147483646 h 246"/>
                <a:gd name="T58" fmla="*/ 2147483646 w 247"/>
                <a:gd name="T59" fmla="*/ 2147483646 h 246"/>
                <a:gd name="T60" fmla="*/ 2147483646 w 247"/>
                <a:gd name="T61" fmla="*/ 2147483646 h 246"/>
                <a:gd name="T62" fmla="*/ 2147483646 w 247"/>
                <a:gd name="T63" fmla="*/ 2147483646 h 246"/>
                <a:gd name="T64" fmla="*/ 2147483646 w 247"/>
                <a:gd name="T65" fmla="*/ 2147483646 h 246"/>
                <a:gd name="T66" fmla="*/ 2147483646 w 247"/>
                <a:gd name="T67" fmla="*/ 2147483646 h 246"/>
                <a:gd name="T68" fmla="*/ 2147483646 w 247"/>
                <a:gd name="T69" fmla="*/ 2147483646 h 246"/>
                <a:gd name="T70" fmla="*/ 2147483646 w 247"/>
                <a:gd name="T71" fmla="*/ 2147483646 h 246"/>
                <a:gd name="T72" fmla="*/ 2147483646 w 247"/>
                <a:gd name="T73" fmla="*/ 2147483646 h 246"/>
                <a:gd name="T74" fmla="*/ 2147483646 w 247"/>
                <a:gd name="T75" fmla="*/ 2147483646 h 246"/>
                <a:gd name="T76" fmla="*/ 2147483646 w 247"/>
                <a:gd name="T77" fmla="*/ 2147483646 h 246"/>
                <a:gd name="T78" fmla="*/ 2147483646 w 247"/>
                <a:gd name="T79" fmla="*/ 2147483646 h 246"/>
                <a:gd name="T80" fmla="*/ 2147483646 w 247"/>
                <a:gd name="T81" fmla="*/ 2147483646 h 246"/>
                <a:gd name="T82" fmla="*/ 2147483646 w 247"/>
                <a:gd name="T83" fmla="*/ 2147483646 h 246"/>
                <a:gd name="T84" fmla="*/ 2147483646 w 247"/>
                <a:gd name="T85" fmla="*/ 2147483646 h 246"/>
                <a:gd name="T86" fmla="*/ 2147483646 w 247"/>
                <a:gd name="T87" fmla="*/ 2147483646 h 246"/>
                <a:gd name="T88" fmla="*/ 2147483646 w 247"/>
                <a:gd name="T89" fmla="*/ 2147483646 h 246"/>
                <a:gd name="T90" fmla="*/ 2147483646 w 247"/>
                <a:gd name="T91" fmla="*/ 2147483646 h 246"/>
                <a:gd name="T92" fmla="*/ 2147483646 w 247"/>
                <a:gd name="T93" fmla="*/ 2147483646 h 246"/>
                <a:gd name="T94" fmla="*/ 2147483646 w 247"/>
                <a:gd name="T95" fmla="*/ 2147483646 h 246"/>
                <a:gd name="T96" fmla="*/ 2147483646 w 247"/>
                <a:gd name="T97" fmla="*/ 2147483646 h 246"/>
                <a:gd name="T98" fmla="*/ 2147483646 w 247"/>
                <a:gd name="T99" fmla="*/ 2147483646 h 246"/>
                <a:gd name="T100" fmla="*/ 2147483646 w 247"/>
                <a:gd name="T101" fmla="*/ 2147483646 h 246"/>
                <a:gd name="T102" fmla="*/ 2147483646 w 247"/>
                <a:gd name="T103" fmla="*/ 2147483646 h 246"/>
                <a:gd name="T104" fmla="*/ 2147483646 w 247"/>
                <a:gd name="T105" fmla="*/ 2147483646 h 246"/>
                <a:gd name="T106" fmla="*/ 2147483646 w 247"/>
                <a:gd name="T107" fmla="*/ 2147483646 h 246"/>
                <a:gd name="T108" fmla="*/ 2147483646 w 247"/>
                <a:gd name="T109" fmla="*/ 2147483646 h 24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47" h="246">
                  <a:moveTo>
                    <a:pt x="220" y="5"/>
                  </a:moveTo>
                  <a:cubicBezTo>
                    <a:pt x="220" y="6"/>
                    <a:pt x="220" y="6"/>
                    <a:pt x="220" y="6"/>
                  </a:cubicBezTo>
                  <a:cubicBezTo>
                    <a:pt x="221" y="6"/>
                    <a:pt x="223" y="6"/>
                    <a:pt x="225" y="6"/>
                  </a:cubicBezTo>
                  <a:cubicBezTo>
                    <a:pt x="227" y="7"/>
                    <a:pt x="229" y="7"/>
                    <a:pt x="230" y="8"/>
                  </a:cubicBezTo>
                  <a:cubicBezTo>
                    <a:pt x="234" y="10"/>
                    <a:pt x="236" y="13"/>
                    <a:pt x="238" y="16"/>
                  </a:cubicBezTo>
                  <a:cubicBezTo>
                    <a:pt x="237" y="16"/>
                    <a:pt x="237" y="16"/>
                    <a:pt x="237" y="16"/>
                  </a:cubicBezTo>
                  <a:cubicBezTo>
                    <a:pt x="239" y="20"/>
                    <a:pt x="240" y="25"/>
                    <a:pt x="241" y="30"/>
                  </a:cubicBezTo>
                  <a:cubicBezTo>
                    <a:pt x="241" y="34"/>
                    <a:pt x="242" y="39"/>
                    <a:pt x="242" y="43"/>
                  </a:cubicBezTo>
                  <a:cubicBezTo>
                    <a:pt x="242" y="53"/>
                    <a:pt x="242" y="62"/>
                    <a:pt x="243" y="72"/>
                  </a:cubicBezTo>
                  <a:cubicBezTo>
                    <a:pt x="243" y="71"/>
                    <a:pt x="242" y="71"/>
                    <a:pt x="242" y="71"/>
                  </a:cubicBezTo>
                  <a:cubicBezTo>
                    <a:pt x="243" y="72"/>
                    <a:pt x="243" y="73"/>
                    <a:pt x="243" y="74"/>
                  </a:cubicBezTo>
                  <a:cubicBezTo>
                    <a:pt x="243" y="74"/>
                    <a:pt x="243" y="74"/>
                    <a:pt x="243" y="73"/>
                  </a:cubicBezTo>
                  <a:cubicBezTo>
                    <a:pt x="241" y="78"/>
                    <a:pt x="243" y="85"/>
                    <a:pt x="242" y="88"/>
                  </a:cubicBezTo>
                  <a:cubicBezTo>
                    <a:pt x="243" y="89"/>
                    <a:pt x="243" y="90"/>
                    <a:pt x="243" y="89"/>
                  </a:cubicBezTo>
                  <a:cubicBezTo>
                    <a:pt x="244" y="104"/>
                    <a:pt x="244" y="120"/>
                    <a:pt x="245" y="136"/>
                  </a:cubicBezTo>
                  <a:cubicBezTo>
                    <a:pt x="245" y="136"/>
                    <a:pt x="244" y="136"/>
                    <a:pt x="244" y="136"/>
                  </a:cubicBezTo>
                  <a:cubicBezTo>
                    <a:pt x="246" y="149"/>
                    <a:pt x="245" y="163"/>
                    <a:pt x="245" y="177"/>
                  </a:cubicBezTo>
                  <a:cubicBezTo>
                    <a:pt x="245" y="177"/>
                    <a:pt x="245" y="175"/>
                    <a:pt x="246" y="177"/>
                  </a:cubicBezTo>
                  <a:cubicBezTo>
                    <a:pt x="247" y="172"/>
                    <a:pt x="245" y="169"/>
                    <a:pt x="246" y="165"/>
                  </a:cubicBezTo>
                  <a:cubicBezTo>
                    <a:pt x="246" y="165"/>
                    <a:pt x="246" y="165"/>
                    <a:pt x="246" y="165"/>
                  </a:cubicBezTo>
                  <a:cubicBezTo>
                    <a:pt x="247" y="162"/>
                    <a:pt x="245" y="165"/>
                    <a:pt x="246" y="162"/>
                  </a:cubicBezTo>
                  <a:cubicBezTo>
                    <a:pt x="246" y="161"/>
                    <a:pt x="246" y="162"/>
                    <a:pt x="246" y="161"/>
                  </a:cubicBezTo>
                  <a:cubicBezTo>
                    <a:pt x="246" y="155"/>
                    <a:pt x="246" y="149"/>
                    <a:pt x="245" y="143"/>
                  </a:cubicBezTo>
                  <a:cubicBezTo>
                    <a:pt x="246" y="142"/>
                    <a:pt x="245" y="137"/>
                    <a:pt x="246" y="135"/>
                  </a:cubicBezTo>
                  <a:cubicBezTo>
                    <a:pt x="246" y="133"/>
                    <a:pt x="246" y="131"/>
                    <a:pt x="245" y="131"/>
                  </a:cubicBezTo>
                  <a:cubicBezTo>
                    <a:pt x="246" y="110"/>
                    <a:pt x="245" y="88"/>
                    <a:pt x="245" y="66"/>
                  </a:cubicBezTo>
                  <a:cubicBezTo>
                    <a:pt x="244" y="61"/>
                    <a:pt x="244" y="56"/>
                    <a:pt x="244" y="50"/>
                  </a:cubicBezTo>
                  <a:cubicBezTo>
                    <a:pt x="245" y="44"/>
                    <a:pt x="245" y="38"/>
                    <a:pt x="244" y="32"/>
                  </a:cubicBezTo>
                  <a:cubicBezTo>
                    <a:pt x="244" y="32"/>
                    <a:pt x="245" y="32"/>
                    <a:pt x="245" y="32"/>
                  </a:cubicBezTo>
                  <a:cubicBezTo>
                    <a:pt x="244" y="28"/>
                    <a:pt x="243" y="22"/>
                    <a:pt x="241" y="17"/>
                  </a:cubicBezTo>
                  <a:cubicBezTo>
                    <a:pt x="241" y="17"/>
                    <a:pt x="241" y="16"/>
                    <a:pt x="240" y="15"/>
                  </a:cubicBezTo>
                  <a:cubicBezTo>
                    <a:pt x="240" y="15"/>
                    <a:pt x="239" y="14"/>
                    <a:pt x="239" y="14"/>
                  </a:cubicBezTo>
                  <a:cubicBezTo>
                    <a:pt x="239" y="14"/>
                    <a:pt x="238" y="14"/>
                    <a:pt x="238" y="14"/>
                  </a:cubicBezTo>
                  <a:cubicBezTo>
                    <a:pt x="237" y="10"/>
                    <a:pt x="234" y="7"/>
                    <a:pt x="230" y="6"/>
                  </a:cubicBezTo>
                  <a:cubicBezTo>
                    <a:pt x="227" y="4"/>
                    <a:pt x="223" y="3"/>
                    <a:pt x="219" y="3"/>
                  </a:cubicBezTo>
                  <a:cubicBezTo>
                    <a:pt x="216" y="2"/>
                    <a:pt x="212" y="2"/>
                    <a:pt x="209" y="2"/>
                  </a:cubicBezTo>
                  <a:cubicBezTo>
                    <a:pt x="205" y="2"/>
                    <a:pt x="201" y="2"/>
                    <a:pt x="198" y="2"/>
                  </a:cubicBezTo>
                  <a:cubicBezTo>
                    <a:pt x="183" y="2"/>
                    <a:pt x="169" y="2"/>
                    <a:pt x="155" y="2"/>
                  </a:cubicBezTo>
                  <a:cubicBezTo>
                    <a:pt x="122" y="1"/>
                    <a:pt x="93" y="0"/>
                    <a:pt x="62" y="3"/>
                  </a:cubicBezTo>
                  <a:cubicBezTo>
                    <a:pt x="62" y="3"/>
                    <a:pt x="62" y="2"/>
                    <a:pt x="62" y="2"/>
                  </a:cubicBezTo>
                  <a:cubicBezTo>
                    <a:pt x="53" y="3"/>
                    <a:pt x="45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4" y="2"/>
                    <a:pt x="31" y="3"/>
                    <a:pt x="28" y="3"/>
                  </a:cubicBezTo>
                  <a:cubicBezTo>
                    <a:pt x="27" y="3"/>
                    <a:pt x="25" y="3"/>
                    <a:pt x="24" y="3"/>
                  </a:cubicBezTo>
                  <a:cubicBezTo>
                    <a:pt x="22" y="3"/>
                    <a:pt x="21" y="3"/>
                    <a:pt x="20" y="3"/>
                  </a:cubicBezTo>
                  <a:cubicBezTo>
                    <a:pt x="17" y="4"/>
                    <a:pt x="14" y="5"/>
                    <a:pt x="11" y="6"/>
                  </a:cubicBezTo>
                  <a:cubicBezTo>
                    <a:pt x="9" y="8"/>
                    <a:pt x="6" y="10"/>
                    <a:pt x="5" y="12"/>
                  </a:cubicBezTo>
                  <a:cubicBezTo>
                    <a:pt x="3" y="15"/>
                    <a:pt x="2" y="18"/>
                    <a:pt x="2" y="21"/>
                  </a:cubicBezTo>
                  <a:cubicBezTo>
                    <a:pt x="1" y="23"/>
                    <a:pt x="1" y="26"/>
                    <a:pt x="1" y="29"/>
                  </a:cubicBezTo>
                  <a:cubicBezTo>
                    <a:pt x="0" y="34"/>
                    <a:pt x="1" y="40"/>
                    <a:pt x="1" y="45"/>
                  </a:cubicBezTo>
                  <a:cubicBezTo>
                    <a:pt x="2" y="51"/>
                    <a:pt x="2" y="58"/>
                    <a:pt x="2" y="64"/>
                  </a:cubicBezTo>
                  <a:cubicBezTo>
                    <a:pt x="2" y="71"/>
                    <a:pt x="2" y="78"/>
                    <a:pt x="2" y="84"/>
                  </a:cubicBezTo>
                  <a:cubicBezTo>
                    <a:pt x="2" y="98"/>
                    <a:pt x="2" y="112"/>
                    <a:pt x="2" y="125"/>
                  </a:cubicBezTo>
                  <a:cubicBezTo>
                    <a:pt x="2" y="125"/>
                    <a:pt x="2" y="125"/>
                    <a:pt x="2" y="125"/>
                  </a:cubicBezTo>
                  <a:cubicBezTo>
                    <a:pt x="3" y="146"/>
                    <a:pt x="0" y="167"/>
                    <a:pt x="1" y="188"/>
                  </a:cubicBezTo>
                  <a:cubicBezTo>
                    <a:pt x="1" y="194"/>
                    <a:pt x="1" y="199"/>
                    <a:pt x="1" y="205"/>
                  </a:cubicBezTo>
                  <a:cubicBezTo>
                    <a:pt x="1" y="210"/>
                    <a:pt x="1" y="216"/>
                    <a:pt x="2" y="222"/>
                  </a:cubicBezTo>
                  <a:cubicBezTo>
                    <a:pt x="2" y="224"/>
                    <a:pt x="3" y="227"/>
                    <a:pt x="4" y="230"/>
                  </a:cubicBezTo>
                  <a:cubicBezTo>
                    <a:pt x="5" y="233"/>
                    <a:pt x="6" y="235"/>
                    <a:pt x="8" y="237"/>
                  </a:cubicBezTo>
                  <a:cubicBezTo>
                    <a:pt x="10" y="239"/>
                    <a:pt x="12" y="241"/>
                    <a:pt x="15" y="242"/>
                  </a:cubicBezTo>
                  <a:cubicBezTo>
                    <a:pt x="18" y="242"/>
                    <a:pt x="20" y="243"/>
                    <a:pt x="23" y="243"/>
                  </a:cubicBezTo>
                  <a:cubicBezTo>
                    <a:pt x="27" y="244"/>
                    <a:pt x="30" y="244"/>
                    <a:pt x="34" y="244"/>
                  </a:cubicBezTo>
                  <a:cubicBezTo>
                    <a:pt x="38" y="244"/>
                    <a:pt x="42" y="244"/>
                    <a:pt x="46" y="243"/>
                  </a:cubicBezTo>
                  <a:cubicBezTo>
                    <a:pt x="53" y="243"/>
                    <a:pt x="61" y="242"/>
                    <a:pt x="67" y="243"/>
                  </a:cubicBezTo>
                  <a:cubicBezTo>
                    <a:pt x="94" y="246"/>
                    <a:pt x="119" y="244"/>
                    <a:pt x="146" y="242"/>
                  </a:cubicBezTo>
                  <a:cubicBezTo>
                    <a:pt x="170" y="244"/>
                    <a:pt x="194" y="241"/>
                    <a:pt x="218" y="243"/>
                  </a:cubicBezTo>
                  <a:cubicBezTo>
                    <a:pt x="220" y="243"/>
                    <a:pt x="223" y="243"/>
                    <a:pt x="226" y="242"/>
                  </a:cubicBezTo>
                  <a:cubicBezTo>
                    <a:pt x="229" y="242"/>
                    <a:pt x="232" y="241"/>
                    <a:pt x="235" y="240"/>
                  </a:cubicBezTo>
                  <a:cubicBezTo>
                    <a:pt x="237" y="239"/>
                    <a:pt x="240" y="236"/>
                    <a:pt x="241" y="234"/>
                  </a:cubicBezTo>
                  <a:cubicBezTo>
                    <a:pt x="243" y="231"/>
                    <a:pt x="243" y="228"/>
                    <a:pt x="244" y="224"/>
                  </a:cubicBezTo>
                  <a:cubicBezTo>
                    <a:pt x="243" y="225"/>
                    <a:pt x="243" y="225"/>
                    <a:pt x="243" y="225"/>
                  </a:cubicBezTo>
                  <a:cubicBezTo>
                    <a:pt x="244" y="223"/>
                    <a:pt x="244" y="220"/>
                    <a:pt x="243" y="218"/>
                  </a:cubicBezTo>
                  <a:cubicBezTo>
                    <a:pt x="243" y="216"/>
                    <a:pt x="242" y="214"/>
                    <a:pt x="244" y="212"/>
                  </a:cubicBezTo>
                  <a:cubicBezTo>
                    <a:pt x="244" y="213"/>
                    <a:pt x="244" y="213"/>
                    <a:pt x="244" y="213"/>
                  </a:cubicBezTo>
                  <a:cubicBezTo>
                    <a:pt x="245" y="210"/>
                    <a:pt x="241" y="207"/>
                    <a:pt x="242" y="206"/>
                  </a:cubicBezTo>
                  <a:cubicBezTo>
                    <a:pt x="241" y="205"/>
                    <a:pt x="241" y="205"/>
                    <a:pt x="241" y="205"/>
                  </a:cubicBezTo>
                  <a:cubicBezTo>
                    <a:pt x="241" y="203"/>
                    <a:pt x="242" y="205"/>
                    <a:pt x="242" y="203"/>
                  </a:cubicBezTo>
                  <a:cubicBezTo>
                    <a:pt x="242" y="202"/>
                    <a:pt x="241" y="203"/>
                    <a:pt x="241" y="201"/>
                  </a:cubicBezTo>
                  <a:cubicBezTo>
                    <a:pt x="244" y="200"/>
                    <a:pt x="241" y="194"/>
                    <a:pt x="243" y="194"/>
                  </a:cubicBezTo>
                  <a:cubicBezTo>
                    <a:pt x="243" y="195"/>
                    <a:pt x="244" y="191"/>
                    <a:pt x="245" y="195"/>
                  </a:cubicBezTo>
                  <a:cubicBezTo>
                    <a:pt x="245" y="194"/>
                    <a:pt x="245" y="189"/>
                    <a:pt x="244" y="189"/>
                  </a:cubicBezTo>
                  <a:cubicBezTo>
                    <a:pt x="243" y="189"/>
                    <a:pt x="242" y="187"/>
                    <a:pt x="241" y="190"/>
                  </a:cubicBezTo>
                  <a:cubicBezTo>
                    <a:pt x="242" y="190"/>
                    <a:pt x="242" y="190"/>
                    <a:pt x="242" y="190"/>
                  </a:cubicBezTo>
                  <a:cubicBezTo>
                    <a:pt x="241" y="191"/>
                    <a:pt x="241" y="191"/>
                    <a:pt x="241" y="192"/>
                  </a:cubicBezTo>
                  <a:cubicBezTo>
                    <a:pt x="240" y="195"/>
                    <a:pt x="239" y="196"/>
                    <a:pt x="239" y="199"/>
                  </a:cubicBezTo>
                  <a:cubicBezTo>
                    <a:pt x="239" y="199"/>
                    <a:pt x="239" y="199"/>
                    <a:pt x="239" y="199"/>
                  </a:cubicBezTo>
                  <a:cubicBezTo>
                    <a:pt x="240" y="201"/>
                    <a:pt x="239" y="203"/>
                    <a:pt x="239" y="205"/>
                  </a:cubicBezTo>
                  <a:cubicBezTo>
                    <a:pt x="239" y="205"/>
                    <a:pt x="239" y="205"/>
                    <a:pt x="239" y="205"/>
                  </a:cubicBezTo>
                  <a:cubicBezTo>
                    <a:pt x="238" y="206"/>
                    <a:pt x="241" y="209"/>
                    <a:pt x="239" y="208"/>
                  </a:cubicBezTo>
                  <a:cubicBezTo>
                    <a:pt x="240" y="212"/>
                    <a:pt x="240" y="216"/>
                    <a:pt x="240" y="220"/>
                  </a:cubicBezTo>
                  <a:cubicBezTo>
                    <a:pt x="240" y="224"/>
                    <a:pt x="239" y="229"/>
                    <a:pt x="238" y="232"/>
                  </a:cubicBezTo>
                  <a:cubicBezTo>
                    <a:pt x="238" y="232"/>
                    <a:pt x="237" y="234"/>
                    <a:pt x="237" y="235"/>
                  </a:cubicBezTo>
                  <a:cubicBezTo>
                    <a:pt x="236" y="235"/>
                    <a:pt x="236" y="235"/>
                    <a:pt x="236" y="236"/>
                  </a:cubicBezTo>
                  <a:cubicBezTo>
                    <a:pt x="236" y="236"/>
                    <a:pt x="236" y="236"/>
                    <a:pt x="237" y="236"/>
                  </a:cubicBezTo>
                  <a:cubicBezTo>
                    <a:pt x="235" y="236"/>
                    <a:pt x="234" y="237"/>
                    <a:pt x="232" y="238"/>
                  </a:cubicBezTo>
                  <a:cubicBezTo>
                    <a:pt x="231" y="238"/>
                    <a:pt x="229" y="239"/>
                    <a:pt x="228" y="239"/>
                  </a:cubicBezTo>
                  <a:cubicBezTo>
                    <a:pt x="228" y="239"/>
                    <a:pt x="228" y="239"/>
                    <a:pt x="228" y="239"/>
                  </a:cubicBezTo>
                  <a:cubicBezTo>
                    <a:pt x="226" y="238"/>
                    <a:pt x="225" y="239"/>
                    <a:pt x="224" y="239"/>
                  </a:cubicBezTo>
                  <a:cubicBezTo>
                    <a:pt x="223" y="240"/>
                    <a:pt x="222" y="240"/>
                    <a:pt x="219" y="239"/>
                  </a:cubicBezTo>
                  <a:cubicBezTo>
                    <a:pt x="219" y="241"/>
                    <a:pt x="212" y="238"/>
                    <a:pt x="209" y="240"/>
                  </a:cubicBezTo>
                  <a:cubicBezTo>
                    <a:pt x="209" y="240"/>
                    <a:pt x="208" y="240"/>
                    <a:pt x="209" y="239"/>
                  </a:cubicBezTo>
                  <a:cubicBezTo>
                    <a:pt x="201" y="239"/>
                    <a:pt x="192" y="239"/>
                    <a:pt x="186" y="239"/>
                  </a:cubicBezTo>
                  <a:cubicBezTo>
                    <a:pt x="180" y="240"/>
                    <a:pt x="172" y="238"/>
                    <a:pt x="167" y="240"/>
                  </a:cubicBezTo>
                  <a:cubicBezTo>
                    <a:pt x="163" y="240"/>
                    <a:pt x="157" y="239"/>
                    <a:pt x="151" y="240"/>
                  </a:cubicBezTo>
                  <a:cubicBezTo>
                    <a:pt x="152" y="239"/>
                    <a:pt x="152" y="239"/>
                    <a:pt x="152" y="239"/>
                  </a:cubicBezTo>
                  <a:cubicBezTo>
                    <a:pt x="145" y="239"/>
                    <a:pt x="137" y="240"/>
                    <a:pt x="133" y="241"/>
                  </a:cubicBezTo>
                  <a:cubicBezTo>
                    <a:pt x="131" y="239"/>
                    <a:pt x="128" y="239"/>
                    <a:pt x="126" y="239"/>
                  </a:cubicBezTo>
                  <a:cubicBezTo>
                    <a:pt x="121" y="240"/>
                    <a:pt x="113" y="239"/>
                    <a:pt x="106" y="240"/>
                  </a:cubicBezTo>
                  <a:cubicBezTo>
                    <a:pt x="105" y="239"/>
                    <a:pt x="101" y="240"/>
                    <a:pt x="101" y="239"/>
                  </a:cubicBezTo>
                  <a:cubicBezTo>
                    <a:pt x="83" y="242"/>
                    <a:pt x="60" y="241"/>
                    <a:pt x="41" y="239"/>
                  </a:cubicBezTo>
                  <a:cubicBezTo>
                    <a:pt x="41" y="239"/>
                    <a:pt x="41" y="239"/>
                    <a:pt x="41" y="239"/>
                  </a:cubicBezTo>
                  <a:cubicBezTo>
                    <a:pt x="39" y="240"/>
                    <a:pt x="36" y="241"/>
                    <a:pt x="34" y="242"/>
                  </a:cubicBezTo>
                  <a:cubicBezTo>
                    <a:pt x="33" y="242"/>
                    <a:pt x="33" y="242"/>
                    <a:pt x="34" y="242"/>
                  </a:cubicBezTo>
                  <a:cubicBezTo>
                    <a:pt x="30" y="242"/>
                    <a:pt x="27" y="241"/>
                    <a:pt x="24" y="241"/>
                  </a:cubicBezTo>
                  <a:cubicBezTo>
                    <a:pt x="24" y="241"/>
                    <a:pt x="24" y="241"/>
                    <a:pt x="24" y="240"/>
                  </a:cubicBezTo>
                  <a:cubicBezTo>
                    <a:pt x="23" y="241"/>
                    <a:pt x="23" y="240"/>
                    <a:pt x="22" y="240"/>
                  </a:cubicBezTo>
                  <a:cubicBezTo>
                    <a:pt x="21" y="240"/>
                    <a:pt x="20" y="240"/>
                    <a:pt x="20" y="240"/>
                  </a:cubicBezTo>
                  <a:cubicBezTo>
                    <a:pt x="18" y="239"/>
                    <a:pt x="17" y="239"/>
                    <a:pt x="15" y="238"/>
                  </a:cubicBezTo>
                  <a:cubicBezTo>
                    <a:pt x="15" y="238"/>
                    <a:pt x="15" y="238"/>
                    <a:pt x="15" y="238"/>
                  </a:cubicBezTo>
                  <a:cubicBezTo>
                    <a:pt x="15" y="238"/>
                    <a:pt x="15" y="238"/>
                    <a:pt x="14" y="238"/>
                  </a:cubicBezTo>
                  <a:cubicBezTo>
                    <a:pt x="14" y="238"/>
                    <a:pt x="14" y="238"/>
                    <a:pt x="14" y="238"/>
                  </a:cubicBezTo>
                  <a:cubicBezTo>
                    <a:pt x="14" y="238"/>
                    <a:pt x="13" y="238"/>
                    <a:pt x="13" y="238"/>
                  </a:cubicBezTo>
                  <a:cubicBezTo>
                    <a:pt x="13" y="238"/>
                    <a:pt x="13" y="238"/>
                    <a:pt x="13" y="238"/>
                  </a:cubicBezTo>
                  <a:cubicBezTo>
                    <a:pt x="13" y="237"/>
                    <a:pt x="13" y="237"/>
                    <a:pt x="14" y="237"/>
                  </a:cubicBezTo>
                  <a:cubicBezTo>
                    <a:pt x="12" y="236"/>
                    <a:pt x="10" y="234"/>
                    <a:pt x="8" y="231"/>
                  </a:cubicBezTo>
                  <a:cubicBezTo>
                    <a:pt x="7" y="228"/>
                    <a:pt x="6" y="225"/>
                    <a:pt x="6" y="221"/>
                  </a:cubicBezTo>
                  <a:cubicBezTo>
                    <a:pt x="5" y="214"/>
                    <a:pt x="5" y="206"/>
                    <a:pt x="5" y="198"/>
                  </a:cubicBezTo>
                  <a:cubicBezTo>
                    <a:pt x="5" y="191"/>
                    <a:pt x="5" y="183"/>
                    <a:pt x="5" y="175"/>
                  </a:cubicBezTo>
                  <a:cubicBezTo>
                    <a:pt x="5" y="167"/>
                    <a:pt x="5" y="160"/>
                    <a:pt x="5" y="152"/>
                  </a:cubicBezTo>
                  <a:cubicBezTo>
                    <a:pt x="5" y="153"/>
                    <a:pt x="5" y="153"/>
                    <a:pt x="5" y="153"/>
                  </a:cubicBezTo>
                  <a:cubicBezTo>
                    <a:pt x="4" y="147"/>
                    <a:pt x="4" y="147"/>
                    <a:pt x="4" y="147"/>
                  </a:cubicBezTo>
                  <a:cubicBezTo>
                    <a:pt x="5" y="147"/>
                    <a:pt x="5" y="147"/>
                    <a:pt x="5" y="147"/>
                  </a:cubicBezTo>
                  <a:cubicBezTo>
                    <a:pt x="5" y="140"/>
                    <a:pt x="4" y="132"/>
                    <a:pt x="4" y="124"/>
                  </a:cubicBezTo>
                  <a:cubicBezTo>
                    <a:pt x="5" y="124"/>
                    <a:pt x="5" y="126"/>
                    <a:pt x="5" y="124"/>
                  </a:cubicBezTo>
                  <a:cubicBezTo>
                    <a:pt x="4" y="119"/>
                    <a:pt x="7" y="116"/>
                    <a:pt x="4" y="113"/>
                  </a:cubicBezTo>
                  <a:cubicBezTo>
                    <a:pt x="4" y="113"/>
                    <a:pt x="5" y="112"/>
                    <a:pt x="5" y="113"/>
                  </a:cubicBezTo>
                  <a:cubicBezTo>
                    <a:pt x="4" y="98"/>
                    <a:pt x="4" y="82"/>
                    <a:pt x="5" y="66"/>
                  </a:cubicBezTo>
                  <a:cubicBezTo>
                    <a:pt x="4" y="63"/>
                    <a:pt x="4" y="60"/>
                    <a:pt x="4" y="56"/>
                  </a:cubicBezTo>
                  <a:cubicBezTo>
                    <a:pt x="4" y="53"/>
                    <a:pt x="4" y="50"/>
                    <a:pt x="3" y="46"/>
                  </a:cubicBezTo>
                  <a:cubicBezTo>
                    <a:pt x="3" y="39"/>
                    <a:pt x="3" y="32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1"/>
                    <a:pt x="4" y="17"/>
                    <a:pt x="7" y="13"/>
                  </a:cubicBezTo>
                  <a:cubicBezTo>
                    <a:pt x="8" y="11"/>
                    <a:pt x="9" y="10"/>
                    <a:pt x="11" y="9"/>
                  </a:cubicBezTo>
                  <a:cubicBezTo>
                    <a:pt x="13" y="7"/>
                    <a:pt x="15" y="7"/>
                    <a:pt x="17" y="6"/>
                  </a:cubicBezTo>
                  <a:cubicBezTo>
                    <a:pt x="19" y="6"/>
                    <a:pt x="22" y="5"/>
                    <a:pt x="24" y="5"/>
                  </a:cubicBezTo>
                  <a:cubicBezTo>
                    <a:pt x="26" y="5"/>
                    <a:pt x="28" y="5"/>
                    <a:pt x="30" y="5"/>
                  </a:cubicBezTo>
                  <a:cubicBezTo>
                    <a:pt x="35" y="5"/>
                    <a:pt x="40" y="5"/>
                    <a:pt x="44" y="5"/>
                  </a:cubicBezTo>
                  <a:cubicBezTo>
                    <a:pt x="52" y="5"/>
                    <a:pt x="57" y="5"/>
                    <a:pt x="64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77" y="3"/>
                    <a:pt x="91" y="7"/>
                    <a:pt x="104" y="5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5" y="5"/>
                    <a:pt x="111" y="6"/>
                    <a:pt x="110" y="4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22" y="2"/>
                    <a:pt x="129" y="6"/>
                    <a:pt x="140" y="4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42" y="4"/>
                    <a:pt x="146" y="4"/>
                    <a:pt x="148" y="5"/>
                  </a:cubicBezTo>
                  <a:cubicBezTo>
                    <a:pt x="147" y="5"/>
                    <a:pt x="148" y="5"/>
                    <a:pt x="147" y="5"/>
                  </a:cubicBezTo>
                  <a:cubicBezTo>
                    <a:pt x="156" y="7"/>
                    <a:pt x="166" y="5"/>
                    <a:pt x="176" y="5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9" y="5"/>
                    <a:pt x="188" y="6"/>
                    <a:pt x="194" y="5"/>
                  </a:cubicBezTo>
                  <a:cubicBezTo>
                    <a:pt x="194" y="6"/>
                    <a:pt x="194" y="6"/>
                    <a:pt x="194" y="6"/>
                  </a:cubicBezTo>
                  <a:cubicBezTo>
                    <a:pt x="197" y="5"/>
                    <a:pt x="197" y="5"/>
                    <a:pt x="197" y="5"/>
                  </a:cubicBezTo>
                  <a:cubicBezTo>
                    <a:pt x="197" y="6"/>
                    <a:pt x="197" y="6"/>
                    <a:pt x="197" y="6"/>
                  </a:cubicBezTo>
                  <a:cubicBezTo>
                    <a:pt x="201" y="6"/>
                    <a:pt x="205" y="6"/>
                    <a:pt x="209" y="5"/>
                  </a:cubicBezTo>
                  <a:cubicBezTo>
                    <a:pt x="212" y="5"/>
                    <a:pt x="216" y="5"/>
                    <a:pt x="220" y="5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6" name="Freeform 911">
              <a:extLst>
                <a:ext uri="{FF2B5EF4-FFF2-40B4-BE49-F238E27FC236}">
                  <a16:creationId xmlns:a16="http://schemas.microsoft.com/office/drawing/2014/main" id="{EB72B3BD-6B81-4C9B-B89B-B4EF328EF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5700" y="145732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7" name="Freeform 912">
              <a:extLst>
                <a:ext uri="{FF2B5EF4-FFF2-40B4-BE49-F238E27FC236}">
                  <a16:creationId xmlns:a16="http://schemas.microsoft.com/office/drawing/2014/main" id="{6E2B089D-7C09-409E-8125-F4EACB66BAE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650" y="2054226"/>
              <a:ext cx="0" cy="4763"/>
            </a:xfrm>
            <a:custGeom>
              <a:avLst/>
              <a:gdLst>
                <a:gd name="T0" fmla="*/ 2147483646 h 1"/>
                <a:gd name="T1" fmla="*/ 0 h 1"/>
                <a:gd name="T2" fmla="*/ 2147483646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8" name="Freeform 913">
              <a:extLst>
                <a:ext uri="{FF2B5EF4-FFF2-40B4-BE49-F238E27FC236}">
                  <a16:creationId xmlns:a16="http://schemas.microsoft.com/office/drawing/2014/main" id="{B317A984-4012-4EC5-9E2D-2FF952E7D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738" y="998538"/>
              <a:ext cx="71438" cy="331788"/>
            </a:xfrm>
            <a:custGeom>
              <a:avLst/>
              <a:gdLst>
                <a:gd name="T0" fmla="*/ 2147483646 w 15"/>
                <a:gd name="T1" fmla="*/ 2147483646 h 70"/>
                <a:gd name="T2" fmla="*/ 2147483646 w 15"/>
                <a:gd name="T3" fmla="*/ 2147483646 h 70"/>
                <a:gd name="T4" fmla="*/ 2147483646 w 15"/>
                <a:gd name="T5" fmla="*/ 2147483646 h 70"/>
                <a:gd name="T6" fmla="*/ 0 w 15"/>
                <a:gd name="T7" fmla="*/ 2147483646 h 70"/>
                <a:gd name="T8" fmla="*/ 0 w 15"/>
                <a:gd name="T9" fmla="*/ 2147483646 h 70"/>
                <a:gd name="T10" fmla="*/ 2147483646 w 15"/>
                <a:gd name="T11" fmla="*/ 0 h 70"/>
                <a:gd name="T12" fmla="*/ 2147483646 w 15"/>
                <a:gd name="T13" fmla="*/ 0 h 70"/>
                <a:gd name="T14" fmla="*/ 2147483646 w 15"/>
                <a:gd name="T15" fmla="*/ 2147483646 h 70"/>
                <a:gd name="T16" fmla="*/ 2147483646 w 15"/>
                <a:gd name="T17" fmla="*/ 2147483646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" h="70">
                  <a:moveTo>
                    <a:pt x="15" y="62"/>
                  </a:moveTo>
                  <a:cubicBezTo>
                    <a:pt x="15" y="66"/>
                    <a:pt x="12" y="70"/>
                    <a:pt x="7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3" y="70"/>
                    <a:pt x="0" y="66"/>
                    <a:pt x="0" y="6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2" y="0"/>
                    <a:pt x="15" y="3"/>
                    <a:pt x="15" y="8"/>
                  </a:cubicBezTo>
                  <a:lnTo>
                    <a:pt x="15" y="62"/>
                  </a:ln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19" name="Freeform 914">
              <a:extLst>
                <a:ext uri="{FF2B5EF4-FFF2-40B4-BE49-F238E27FC236}">
                  <a16:creationId xmlns:a16="http://schemas.microsoft.com/office/drawing/2014/main" id="{4C470F22-3FE9-440D-BB66-CB2B198E8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00" y="1292226"/>
              <a:ext cx="4763" cy="0"/>
            </a:xfrm>
            <a:custGeom>
              <a:avLst/>
              <a:gdLst>
                <a:gd name="T0" fmla="*/ 2147483646 w 3"/>
                <a:gd name="T1" fmla="*/ 2147483646 w 3"/>
                <a:gd name="T2" fmla="*/ 0 w 3"/>
                <a:gd name="T3" fmla="*/ 2147483646 w 3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0" name="Freeform 915">
              <a:extLst>
                <a:ext uri="{FF2B5EF4-FFF2-40B4-BE49-F238E27FC236}">
                  <a16:creationId xmlns:a16="http://schemas.microsoft.com/office/drawing/2014/main" id="{F191FEA8-503C-4568-8237-AE68C392B8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38" y="1287463"/>
              <a:ext cx="9525" cy="4763"/>
            </a:xfrm>
            <a:custGeom>
              <a:avLst/>
              <a:gdLst>
                <a:gd name="T0" fmla="*/ 2147483646 w 2"/>
                <a:gd name="T1" fmla="*/ 0 h 1"/>
                <a:gd name="T2" fmla="*/ 0 w 2"/>
                <a:gd name="T3" fmla="*/ 0 h 1"/>
                <a:gd name="T4" fmla="*/ 2147483646 w 2"/>
                <a:gd name="T5" fmla="*/ 2147483646 h 1"/>
                <a:gd name="T6" fmla="*/ 2147483646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0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1" name="Freeform 916">
              <a:extLst>
                <a:ext uri="{FF2B5EF4-FFF2-40B4-BE49-F238E27FC236}">
                  <a16:creationId xmlns:a16="http://schemas.microsoft.com/office/drawing/2014/main" id="{2008F8B3-7024-43A4-A1C2-BE60C57915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38" y="1282701"/>
              <a:ext cx="4763" cy="4763"/>
            </a:xfrm>
            <a:custGeom>
              <a:avLst/>
              <a:gdLst>
                <a:gd name="T0" fmla="*/ 2147483646 w 1"/>
                <a:gd name="T1" fmla="*/ 2147483646 h 1"/>
                <a:gd name="T2" fmla="*/ 0 w 1"/>
                <a:gd name="T3" fmla="*/ 0 h 1"/>
                <a:gd name="T4" fmla="*/ 2147483646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2" name="Freeform 917">
              <a:extLst>
                <a:ext uri="{FF2B5EF4-FFF2-40B4-BE49-F238E27FC236}">
                  <a16:creationId xmlns:a16="http://schemas.microsoft.com/office/drawing/2014/main" id="{E966944B-F769-4EBE-8BA7-5F212C6709B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700" y="1163638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3" name="Freeform 918">
              <a:extLst>
                <a:ext uri="{FF2B5EF4-FFF2-40B4-BE49-F238E27FC236}">
                  <a16:creationId xmlns:a16="http://schemas.microsoft.com/office/drawing/2014/main" id="{04AB20F2-1A14-4F00-A2ED-060007B51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213" y="993776"/>
              <a:ext cx="95250" cy="336550"/>
            </a:xfrm>
            <a:custGeom>
              <a:avLst/>
              <a:gdLst>
                <a:gd name="T0" fmla="*/ 2147483646 w 20"/>
                <a:gd name="T1" fmla="*/ 2147483646 h 71"/>
                <a:gd name="T2" fmla="*/ 2147483646 w 20"/>
                <a:gd name="T3" fmla="*/ 2147483646 h 71"/>
                <a:gd name="T4" fmla="*/ 2147483646 w 20"/>
                <a:gd name="T5" fmla="*/ 2147483646 h 71"/>
                <a:gd name="T6" fmla="*/ 2147483646 w 20"/>
                <a:gd name="T7" fmla="*/ 2147483646 h 71"/>
                <a:gd name="T8" fmla="*/ 2147483646 w 20"/>
                <a:gd name="T9" fmla="*/ 2147483646 h 71"/>
                <a:gd name="T10" fmla="*/ 2147483646 w 20"/>
                <a:gd name="T11" fmla="*/ 2147483646 h 71"/>
                <a:gd name="T12" fmla="*/ 2147483646 w 20"/>
                <a:gd name="T13" fmla="*/ 2147483646 h 71"/>
                <a:gd name="T14" fmla="*/ 2147483646 w 20"/>
                <a:gd name="T15" fmla="*/ 2147483646 h 71"/>
                <a:gd name="T16" fmla="*/ 2147483646 w 20"/>
                <a:gd name="T17" fmla="*/ 2147483646 h 71"/>
                <a:gd name="T18" fmla="*/ 2147483646 w 20"/>
                <a:gd name="T19" fmla="*/ 2147483646 h 71"/>
                <a:gd name="T20" fmla="*/ 2147483646 w 20"/>
                <a:gd name="T21" fmla="*/ 2147483646 h 71"/>
                <a:gd name="T22" fmla="*/ 2147483646 w 20"/>
                <a:gd name="T23" fmla="*/ 2147483646 h 71"/>
                <a:gd name="T24" fmla="*/ 2147483646 w 20"/>
                <a:gd name="T25" fmla="*/ 0 h 71"/>
                <a:gd name="T26" fmla="*/ 2147483646 w 20"/>
                <a:gd name="T27" fmla="*/ 2147483646 h 71"/>
                <a:gd name="T28" fmla="*/ 2147483646 w 20"/>
                <a:gd name="T29" fmla="*/ 2147483646 h 71"/>
                <a:gd name="T30" fmla="*/ 2147483646 w 20"/>
                <a:gd name="T31" fmla="*/ 2147483646 h 71"/>
                <a:gd name="T32" fmla="*/ 2147483646 w 20"/>
                <a:gd name="T33" fmla="*/ 2147483646 h 71"/>
                <a:gd name="T34" fmla="*/ 2147483646 w 20"/>
                <a:gd name="T35" fmla="*/ 2147483646 h 71"/>
                <a:gd name="T36" fmla="*/ 2147483646 w 20"/>
                <a:gd name="T37" fmla="*/ 2147483646 h 71"/>
                <a:gd name="T38" fmla="*/ 2147483646 w 20"/>
                <a:gd name="T39" fmla="*/ 2147483646 h 71"/>
                <a:gd name="T40" fmla="*/ 2147483646 w 20"/>
                <a:gd name="T41" fmla="*/ 2147483646 h 71"/>
                <a:gd name="T42" fmla="*/ 2147483646 w 20"/>
                <a:gd name="T43" fmla="*/ 2147483646 h 71"/>
                <a:gd name="T44" fmla="*/ 2147483646 w 20"/>
                <a:gd name="T45" fmla="*/ 2147483646 h 71"/>
                <a:gd name="T46" fmla="*/ 2147483646 w 20"/>
                <a:gd name="T47" fmla="*/ 2147483646 h 71"/>
                <a:gd name="T48" fmla="*/ 2147483646 w 20"/>
                <a:gd name="T49" fmla="*/ 2147483646 h 71"/>
                <a:gd name="T50" fmla="*/ 2147483646 w 20"/>
                <a:gd name="T51" fmla="*/ 2147483646 h 71"/>
                <a:gd name="T52" fmla="*/ 2147483646 w 20"/>
                <a:gd name="T53" fmla="*/ 2147483646 h 71"/>
                <a:gd name="T54" fmla="*/ 2147483646 w 20"/>
                <a:gd name="T55" fmla="*/ 2147483646 h 71"/>
                <a:gd name="T56" fmla="*/ 2147483646 w 20"/>
                <a:gd name="T57" fmla="*/ 2147483646 h 71"/>
                <a:gd name="T58" fmla="*/ 2147483646 w 20"/>
                <a:gd name="T59" fmla="*/ 2147483646 h 71"/>
                <a:gd name="T60" fmla="*/ 2147483646 w 20"/>
                <a:gd name="T61" fmla="*/ 2147483646 h 71"/>
                <a:gd name="T62" fmla="*/ 2147483646 w 20"/>
                <a:gd name="T63" fmla="*/ 2147483646 h 71"/>
                <a:gd name="T64" fmla="*/ 2147483646 w 20"/>
                <a:gd name="T65" fmla="*/ 2147483646 h 71"/>
                <a:gd name="T66" fmla="*/ 2147483646 w 20"/>
                <a:gd name="T67" fmla="*/ 2147483646 h 71"/>
                <a:gd name="T68" fmla="*/ 2147483646 w 20"/>
                <a:gd name="T69" fmla="*/ 2147483646 h 71"/>
                <a:gd name="T70" fmla="*/ 2147483646 w 20"/>
                <a:gd name="T71" fmla="*/ 2147483646 h 71"/>
                <a:gd name="T72" fmla="*/ 2147483646 w 20"/>
                <a:gd name="T73" fmla="*/ 2147483646 h 71"/>
                <a:gd name="T74" fmla="*/ 2147483646 w 20"/>
                <a:gd name="T75" fmla="*/ 2147483646 h 71"/>
                <a:gd name="T76" fmla="*/ 2147483646 w 20"/>
                <a:gd name="T77" fmla="*/ 2147483646 h 71"/>
                <a:gd name="T78" fmla="*/ 2147483646 w 20"/>
                <a:gd name="T79" fmla="*/ 2147483646 h 71"/>
                <a:gd name="T80" fmla="*/ 2147483646 w 20"/>
                <a:gd name="T81" fmla="*/ 2147483646 h 71"/>
                <a:gd name="T82" fmla="*/ 2147483646 w 20"/>
                <a:gd name="T83" fmla="*/ 2147483646 h 71"/>
                <a:gd name="T84" fmla="*/ 2147483646 w 20"/>
                <a:gd name="T85" fmla="*/ 2147483646 h 71"/>
                <a:gd name="T86" fmla="*/ 2147483646 w 20"/>
                <a:gd name="T87" fmla="*/ 2147483646 h 71"/>
                <a:gd name="T88" fmla="*/ 2147483646 w 20"/>
                <a:gd name="T89" fmla="*/ 2147483646 h 71"/>
                <a:gd name="T90" fmla="*/ 2147483646 w 20"/>
                <a:gd name="T91" fmla="*/ 2147483646 h 71"/>
                <a:gd name="T92" fmla="*/ 2147483646 w 20"/>
                <a:gd name="T93" fmla="*/ 2147483646 h 71"/>
                <a:gd name="T94" fmla="*/ 2147483646 w 20"/>
                <a:gd name="T95" fmla="*/ 2147483646 h 7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0" h="71">
                  <a:moveTo>
                    <a:pt x="17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7" y="31"/>
                    <a:pt x="16" y="32"/>
                    <a:pt x="17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7"/>
                    <a:pt x="17" y="40"/>
                    <a:pt x="17" y="4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43"/>
                    <a:pt x="18" y="43"/>
                    <a:pt x="17" y="44"/>
                  </a:cubicBezTo>
                  <a:cubicBezTo>
                    <a:pt x="17" y="44"/>
                    <a:pt x="17" y="44"/>
                    <a:pt x="17" y="43"/>
                  </a:cubicBezTo>
                  <a:cubicBezTo>
                    <a:pt x="16" y="44"/>
                    <a:pt x="18" y="46"/>
                    <a:pt x="17" y="46"/>
                  </a:cubicBezTo>
                  <a:cubicBezTo>
                    <a:pt x="17" y="46"/>
                    <a:pt x="18" y="46"/>
                    <a:pt x="18" y="46"/>
                  </a:cubicBezTo>
                  <a:cubicBezTo>
                    <a:pt x="18" y="49"/>
                    <a:pt x="18" y="51"/>
                    <a:pt x="19" y="54"/>
                  </a:cubicBezTo>
                  <a:cubicBezTo>
                    <a:pt x="19" y="54"/>
                    <a:pt x="18" y="54"/>
                    <a:pt x="18" y="54"/>
                  </a:cubicBezTo>
                  <a:cubicBezTo>
                    <a:pt x="19" y="56"/>
                    <a:pt x="19" y="59"/>
                    <a:pt x="19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0" y="60"/>
                    <a:pt x="19" y="60"/>
                    <a:pt x="19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20" y="59"/>
                    <a:pt x="19" y="59"/>
                    <a:pt x="19" y="59"/>
                  </a:cubicBezTo>
                  <a:cubicBezTo>
                    <a:pt x="19" y="58"/>
                    <a:pt x="19" y="59"/>
                    <a:pt x="19" y="58"/>
                  </a:cubicBezTo>
                  <a:cubicBezTo>
                    <a:pt x="19" y="57"/>
                    <a:pt x="20" y="56"/>
                    <a:pt x="19" y="55"/>
                  </a:cubicBezTo>
                  <a:cubicBezTo>
                    <a:pt x="19" y="55"/>
                    <a:pt x="19" y="54"/>
                    <a:pt x="19" y="54"/>
                  </a:cubicBezTo>
                  <a:cubicBezTo>
                    <a:pt x="19" y="54"/>
                    <a:pt x="19" y="53"/>
                    <a:pt x="19" y="53"/>
                  </a:cubicBezTo>
                  <a:cubicBezTo>
                    <a:pt x="19" y="50"/>
                    <a:pt x="19" y="46"/>
                    <a:pt x="19" y="42"/>
                  </a:cubicBezTo>
                  <a:cubicBezTo>
                    <a:pt x="17" y="41"/>
                    <a:pt x="19" y="38"/>
                    <a:pt x="18" y="36"/>
                  </a:cubicBezTo>
                  <a:cubicBezTo>
                    <a:pt x="18" y="36"/>
                    <a:pt x="19" y="36"/>
                    <a:pt x="19" y="36"/>
                  </a:cubicBezTo>
                  <a:cubicBezTo>
                    <a:pt x="18" y="36"/>
                    <a:pt x="18" y="35"/>
                    <a:pt x="18" y="34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9" y="28"/>
                    <a:pt x="18" y="24"/>
                    <a:pt x="19" y="19"/>
                  </a:cubicBezTo>
                  <a:cubicBezTo>
                    <a:pt x="19" y="16"/>
                    <a:pt x="19" y="13"/>
                    <a:pt x="19" y="11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8"/>
                    <a:pt x="19" y="7"/>
                    <a:pt x="19" y="6"/>
                  </a:cubicBezTo>
                  <a:cubicBezTo>
                    <a:pt x="18" y="6"/>
                    <a:pt x="18" y="6"/>
                    <a:pt x="18" y="5"/>
                  </a:cubicBezTo>
                  <a:cubicBezTo>
                    <a:pt x="18" y="5"/>
                    <a:pt x="18" y="5"/>
                    <a:pt x="17" y="4"/>
                  </a:cubicBezTo>
                  <a:cubicBezTo>
                    <a:pt x="17" y="4"/>
                    <a:pt x="16" y="3"/>
                    <a:pt x="16" y="3"/>
                  </a:cubicBezTo>
                  <a:cubicBezTo>
                    <a:pt x="16" y="3"/>
                    <a:pt x="16" y="2"/>
                    <a:pt x="16" y="3"/>
                  </a:cubicBezTo>
                  <a:cubicBezTo>
                    <a:pt x="16" y="2"/>
                    <a:pt x="15" y="2"/>
                    <a:pt x="15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3" y="0"/>
                    <a:pt x="13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0"/>
                    <a:pt x="7" y="0"/>
                    <a:pt x="5" y="1"/>
                  </a:cubicBezTo>
                  <a:cubicBezTo>
                    <a:pt x="3" y="2"/>
                    <a:pt x="2" y="4"/>
                    <a:pt x="2" y="6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5"/>
                    <a:pt x="1" y="17"/>
                    <a:pt x="2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2" y="23"/>
                    <a:pt x="1" y="27"/>
                    <a:pt x="1" y="30"/>
                  </a:cubicBezTo>
                  <a:cubicBezTo>
                    <a:pt x="0" y="34"/>
                    <a:pt x="2" y="38"/>
                    <a:pt x="2" y="42"/>
                  </a:cubicBezTo>
                  <a:cubicBezTo>
                    <a:pt x="0" y="44"/>
                    <a:pt x="3" y="47"/>
                    <a:pt x="2" y="49"/>
                  </a:cubicBezTo>
                  <a:cubicBezTo>
                    <a:pt x="0" y="54"/>
                    <a:pt x="1" y="58"/>
                    <a:pt x="2" y="63"/>
                  </a:cubicBezTo>
                  <a:cubicBezTo>
                    <a:pt x="2" y="65"/>
                    <a:pt x="3" y="67"/>
                    <a:pt x="4" y="68"/>
                  </a:cubicBezTo>
                  <a:cubicBezTo>
                    <a:pt x="6" y="69"/>
                    <a:pt x="7" y="70"/>
                    <a:pt x="9" y="71"/>
                  </a:cubicBezTo>
                  <a:cubicBezTo>
                    <a:pt x="10" y="70"/>
                    <a:pt x="10" y="70"/>
                    <a:pt x="11" y="70"/>
                  </a:cubicBezTo>
                  <a:cubicBezTo>
                    <a:pt x="11" y="70"/>
                    <a:pt x="12" y="70"/>
                    <a:pt x="12" y="70"/>
                  </a:cubicBezTo>
                  <a:cubicBezTo>
                    <a:pt x="13" y="70"/>
                    <a:pt x="13" y="70"/>
                    <a:pt x="14" y="70"/>
                  </a:cubicBezTo>
                  <a:cubicBezTo>
                    <a:pt x="14" y="70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6" y="69"/>
                    <a:pt x="16" y="68"/>
                    <a:pt x="16" y="68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7" y="67"/>
                    <a:pt x="17" y="67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5"/>
                    <a:pt x="16" y="66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4"/>
                    <a:pt x="17" y="64"/>
                    <a:pt x="18" y="64"/>
                  </a:cubicBezTo>
                  <a:cubicBezTo>
                    <a:pt x="18" y="64"/>
                    <a:pt x="18" y="64"/>
                    <a:pt x="19" y="64"/>
                  </a:cubicBezTo>
                  <a:cubicBezTo>
                    <a:pt x="19" y="64"/>
                    <a:pt x="19" y="63"/>
                    <a:pt x="18" y="63"/>
                  </a:cubicBezTo>
                  <a:cubicBezTo>
                    <a:pt x="17" y="63"/>
                    <a:pt x="17" y="63"/>
                    <a:pt x="16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5" y="66"/>
                    <a:pt x="14" y="65"/>
                  </a:cubicBezTo>
                  <a:cubicBezTo>
                    <a:pt x="14" y="66"/>
                    <a:pt x="13" y="67"/>
                    <a:pt x="13" y="68"/>
                  </a:cubicBezTo>
                  <a:cubicBezTo>
                    <a:pt x="13" y="68"/>
                    <a:pt x="12" y="68"/>
                    <a:pt x="12" y="69"/>
                  </a:cubicBezTo>
                  <a:cubicBezTo>
                    <a:pt x="12" y="68"/>
                    <a:pt x="11" y="68"/>
                    <a:pt x="11" y="69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0" y="69"/>
                    <a:pt x="10" y="69"/>
                    <a:pt x="9" y="68"/>
                  </a:cubicBezTo>
                  <a:cubicBezTo>
                    <a:pt x="9" y="69"/>
                    <a:pt x="9" y="69"/>
                    <a:pt x="9" y="68"/>
                  </a:cubicBezTo>
                  <a:cubicBezTo>
                    <a:pt x="9" y="68"/>
                    <a:pt x="8" y="68"/>
                    <a:pt x="8" y="69"/>
                  </a:cubicBezTo>
                  <a:cubicBezTo>
                    <a:pt x="8" y="69"/>
                    <a:pt x="8" y="68"/>
                    <a:pt x="8" y="68"/>
                  </a:cubicBezTo>
                  <a:cubicBezTo>
                    <a:pt x="7" y="68"/>
                    <a:pt x="7" y="67"/>
                    <a:pt x="6" y="67"/>
                  </a:cubicBezTo>
                  <a:cubicBezTo>
                    <a:pt x="6" y="67"/>
                    <a:pt x="5" y="66"/>
                    <a:pt x="5" y="66"/>
                  </a:cubicBezTo>
                  <a:cubicBezTo>
                    <a:pt x="5" y="66"/>
                    <a:pt x="5" y="66"/>
                    <a:pt x="4" y="66"/>
                  </a:cubicBezTo>
                  <a:cubicBezTo>
                    <a:pt x="4" y="65"/>
                    <a:pt x="5" y="64"/>
                    <a:pt x="4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3"/>
                    <a:pt x="4" y="63"/>
                    <a:pt x="4" y="62"/>
                  </a:cubicBezTo>
                  <a:cubicBezTo>
                    <a:pt x="4" y="61"/>
                    <a:pt x="4" y="61"/>
                    <a:pt x="3" y="61"/>
                  </a:cubicBezTo>
                  <a:cubicBezTo>
                    <a:pt x="4" y="60"/>
                    <a:pt x="4" y="60"/>
                    <a:pt x="5" y="59"/>
                  </a:cubicBezTo>
                  <a:cubicBezTo>
                    <a:pt x="4" y="59"/>
                    <a:pt x="4" y="57"/>
                    <a:pt x="4" y="56"/>
                  </a:cubicBezTo>
                  <a:cubicBezTo>
                    <a:pt x="4" y="56"/>
                    <a:pt x="3" y="55"/>
                    <a:pt x="4" y="55"/>
                  </a:cubicBezTo>
                  <a:cubicBezTo>
                    <a:pt x="3" y="52"/>
                    <a:pt x="3" y="48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5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3"/>
                    <a:pt x="3" y="43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4" y="41"/>
                    <a:pt x="3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35"/>
                    <a:pt x="3" y="30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4"/>
                    <a:pt x="3" y="24"/>
                  </a:cubicBezTo>
                  <a:cubicBezTo>
                    <a:pt x="4" y="22"/>
                    <a:pt x="3" y="21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19"/>
                    <a:pt x="4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5"/>
                    <a:pt x="3" y="12"/>
                    <a:pt x="3" y="10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2"/>
                    <a:pt x="6" y="2"/>
                    <a:pt x="8" y="1"/>
                  </a:cubicBezTo>
                  <a:cubicBezTo>
                    <a:pt x="9" y="1"/>
                    <a:pt x="11" y="2"/>
                    <a:pt x="12" y="2"/>
                  </a:cubicBezTo>
                  <a:cubicBezTo>
                    <a:pt x="13" y="3"/>
                    <a:pt x="14" y="3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5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6" y="9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6" y="11"/>
                    <a:pt x="17" y="1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3"/>
                    <a:pt x="16" y="14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7" y="23"/>
                    <a:pt x="16" y="24"/>
                    <a:pt x="17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7" y="28"/>
                    <a:pt x="17" y="3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4" name="Freeform 919">
              <a:extLst>
                <a:ext uri="{FF2B5EF4-FFF2-40B4-BE49-F238E27FC236}">
                  <a16:creationId xmlns:a16="http://schemas.microsoft.com/office/drawing/2014/main" id="{264369C6-67E2-47BF-9B25-315EFFEF0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175" y="119697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5" name="Freeform 920">
              <a:extLst>
                <a:ext uri="{FF2B5EF4-FFF2-40B4-BE49-F238E27FC236}">
                  <a16:creationId xmlns:a16="http://schemas.microsoft.com/office/drawing/2014/main" id="{AD934666-AC55-4274-B050-BD6E605D24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" y="1296988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6" name="Freeform 921">
              <a:extLst>
                <a:ext uri="{FF2B5EF4-FFF2-40B4-BE49-F238E27FC236}">
                  <a16:creationId xmlns:a16="http://schemas.microsoft.com/office/drawing/2014/main" id="{381E4078-8FD8-4690-9B8E-0A6D66BB34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" y="998538"/>
              <a:ext cx="71438" cy="331788"/>
            </a:xfrm>
            <a:custGeom>
              <a:avLst/>
              <a:gdLst>
                <a:gd name="T0" fmla="*/ 2147483646 w 15"/>
                <a:gd name="T1" fmla="*/ 2147483646 h 70"/>
                <a:gd name="T2" fmla="*/ 2147483646 w 15"/>
                <a:gd name="T3" fmla="*/ 2147483646 h 70"/>
                <a:gd name="T4" fmla="*/ 2147483646 w 15"/>
                <a:gd name="T5" fmla="*/ 2147483646 h 70"/>
                <a:gd name="T6" fmla="*/ 0 w 15"/>
                <a:gd name="T7" fmla="*/ 2147483646 h 70"/>
                <a:gd name="T8" fmla="*/ 0 w 15"/>
                <a:gd name="T9" fmla="*/ 2147483646 h 70"/>
                <a:gd name="T10" fmla="*/ 2147483646 w 15"/>
                <a:gd name="T11" fmla="*/ 0 h 70"/>
                <a:gd name="T12" fmla="*/ 2147483646 w 15"/>
                <a:gd name="T13" fmla="*/ 0 h 70"/>
                <a:gd name="T14" fmla="*/ 2147483646 w 15"/>
                <a:gd name="T15" fmla="*/ 2147483646 h 70"/>
                <a:gd name="T16" fmla="*/ 2147483646 w 15"/>
                <a:gd name="T17" fmla="*/ 2147483646 h 7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" h="70">
                  <a:moveTo>
                    <a:pt x="15" y="62"/>
                  </a:moveTo>
                  <a:cubicBezTo>
                    <a:pt x="15" y="66"/>
                    <a:pt x="12" y="70"/>
                    <a:pt x="7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3" y="70"/>
                    <a:pt x="0" y="66"/>
                    <a:pt x="0" y="6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12" y="0"/>
                    <a:pt x="15" y="3"/>
                    <a:pt x="15" y="8"/>
                  </a:cubicBezTo>
                  <a:lnTo>
                    <a:pt x="15" y="62"/>
                  </a:ln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7" name="Freeform 922">
              <a:extLst>
                <a:ext uri="{FF2B5EF4-FFF2-40B4-BE49-F238E27FC236}">
                  <a16:creationId xmlns:a16="http://schemas.microsoft.com/office/drawing/2014/main" id="{33DD3492-DDD1-4447-AF5A-7E824B5323E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963" y="1292226"/>
              <a:ext cx="4763" cy="0"/>
            </a:xfrm>
            <a:custGeom>
              <a:avLst/>
              <a:gdLst>
                <a:gd name="T0" fmla="*/ 2147483646 w 3"/>
                <a:gd name="T1" fmla="*/ 2147483646 w 3"/>
                <a:gd name="T2" fmla="*/ 0 w 3"/>
                <a:gd name="T3" fmla="*/ 2147483646 w 3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8" name="Freeform 928">
              <a:extLst>
                <a:ext uri="{FF2B5EF4-FFF2-40B4-BE49-F238E27FC236}">
                  <a16:creationId xmlns:a16="http://schemas.microsoft.com/office/drawing/2014/main" id="{85996383-D7DF-4780-9CE8-1361A84BE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" y="1287463"/>
              <a:ext cx="9525" cy="4763"/>
            </a:xfrm>
            <a:custGeom>
              <a:avLst/>
              <a:gdLst>
                <a:gd name="T0" fmla="*/ 2147483646 w 2"/>
                <a:gd name="T1" fmla="*/ 0 h 1"/>
                <a:gd name="T2" fmla="*/ 2147483646 w 2"/>
                <a:gd name="T3" fmla="*/ 0 h 1"/>
                <a:gd name="T4" fmla="*/ 2147483646 w 2"/>
                <a:gd name="T5" fmla="*/ 2147483646 h 1"/>
                <a:gd name="T6" fmla="*/ 2147483646 w 2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0" y="0"/>
                    <a:pt x="1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29" name="Freeform 929">
              <a:extLst>
                <a:ext uri="{FF2B5EF4-FFF2-40B4-BE49-F238E27FC236}">
                  <a16:creationId xmlns:a16="http://schemas.microsoft.com/office/drawing/2014/main" id="{609D5D57-136B-4BA4-B677-411E03B9C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" y="1282701"/>
              <a:ext cx="4763" cy="4763"/>
            </a:xfrm>
            <a:custGeom>
              <a:avLst/>
              <a:gdLst>
                <a:gd name="T0" fmla="*/ 2147483646 w 1"/>
                <a:gd name="T1" fmla="*/ 2147483646 h 1"/>
                <a:gd name="T2" fmla="*/ 0 w 1"/>
                <a:gd name="T3" fmla="*/ 0 h 1"/>
                <a:gd name="T4" fmla="*/ 2147483646 w 1"/>
                <a:gd name="T5" fmla="*/ 2147483646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0" name="Freeform 936">
              <a:extLst>
                <a:ext uri="{FF2B5EF4-FFF2-40B4-BE49-F238E27FC236}">
                  <a16:creationId xmlns:a16="http://schemas.microsoft.com/office/drawing/2014/main" id="{3CC1374C-2CEC-4E01-8F58-C7DA09A0505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963" y="1163638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1" name="Freeform 942">
              <a:extLst>
                <a:ext uri="{FF2B5EF4-FFF2-40B4-BE49-F238E27FC236}">
                  <a16:creationId xmlns:a16="http://schemas.microsoft.com/office/drawing/2014/main" id="{E166BD73-548F-414C-93F4-7A9F5C1C96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475" y="993776"/>
              <a:ext cx="95250" cy="336550"/>
            </a:xfrm>
            <a:custGeom>
              <a:avLst/>
              <a:gdLst>
                <a:gd name="T0" fmla="*/ 2147483646 w 20"/>
                <a:gd name="T1" fmla="*/ 2147483646 h 71"/>
                <a:gd name="T2" fmla="*/ 2147483646 w 20"/>
                <a:gd name="T3" fmla="*/ 2147483646 h 71"/>
                <a:gd name="T4" fmla="*/ 2147483646 w 20"/>
                <a:gd name="T5" fmla="*/ 2147483646 h 71"/>
                <a:gd name="T6" fmla="*/ 2147483646 w 20"/>
                <a:gd name="T7" fmla="*/ 2147483646 h 71"/>
                <a:gd name="T8" fmla="*/ 2147483646 w 20"/>
                <a:gd name="T9" fmla="*/ 2147483646 h 71"/>
                <a:gd name="T10" fmla="*/ 2147483646 w 20"/>
                <a:gd name="T11" fmla="*/ 2147483646 h 71"/>
                <a:gd name="T12" fmla="*/ 2147483646 w 20"/>
                <a:gd name="T13" fmla="*/ 2147483646 h 71"/>
                <a:gd name="T14" fmla="*/ 2147483646 w 20"/>
                <a:gd name="T15" fmla="*/ 2147483646 h 71"/>
                <a:gd name="T16" fmla="*/ 2147483646 w 20"/>
                <a:gd name="T17" fmla="*/ 2147483646 h 71"/>
                <a:gd name="T18" fmla="*/ 2147483646 w 20"/>
                <a:gd name="T19" fmla="*/ 2147483646 h 71"/>
                <a:gd name="T20" fmla="*/ 2147483646 w 20"/>
                <a:gd name="T21" fmla="*/ 2147483646 h 71"/>
                <a:gd name="T22" fmla="*/ 2147483646 w 20"/>
                <a:gd name="T23" fmla="*/ 2147483646 h 71"/>
                <a:gd name="T24" fmla="*/ 2147483646 w 20"/>
                <a:gd name="T25" fmla="*/ 0 h 71"/>
                <a:gd name="T26" fmla="*/ 2147483646 w 20"/>
                <a:gd name="T27" fmla="*/ 2147483646 h 71"/>
                <a:gd name="T28" fmla="*/ 2147483646 w 20"/>
                <a:gd name="T29" fmla="*/ 2147483646 h 71"/>
                <a:gd name="T30" fmla="*/ 2147483646 w 20"/>
                <a:gd name="T31" fmla="*/ 2147483646 h 71"/>
                <a:gd name="T32" fmla="*/ 2147483646 w 20"/>
                <a:gd name="T33" fmla="*/ 2147483646 h 71"/>
                <a:gd name="T34" fmla="*/ 2147483646 w 20"/>
                <a:gd name="T35" fmla="*/ 2147483646 h 71"/>
                <a:gd name="T36" fmla="*/ 2147483646 w 20"/>
                <a:gd name="T37" fmla="*/ 2147483646 h 71"/>
                <a:gd name="T38" fmla="*/ 2147483646 w 20"/>
                <a:gd name="T39" fmla="*/ 2147483646 h 71"/>
                <a:gd name="T40" fmla="*/ 2147483646 w 20"/>
                <a:gd name="T41" fmla="*/ 2147483646 h 71"/>
                <a:gd name="T42" fmla="*/ 2147483646 w 20"/>
                <a:gd name="T43" fmla="*/ 2147483646 h 71"/>
                <a:gd name="T44" fmla="*/ 2147483646 w 20"/>
                <a:gd name="T45" fmla="*/ 2147483646 h 71"/>
                <a:gd name="T46" fmla="*/ 2147483646 w 20"/>
                <a:gd name="T47" fmla="*/ 2147483646 h 71"/>
                <a:gd name="T48" fmla="*/ 2147483646 w 20"/>
                <a:gd name="T49" fmla="*/ 2147483646 h 71"/>
                <a:gd name="T50" fmla="*/ 2147483646 w 20"/>
                <a:gd name="T51" fmla="*/ 2147483646 h 71"/>
                <a:gd name="T52" fmla="*/ 2147483646 w 20"/>
                <a:gd name="T53" fmla="*/ 2147483646 h 71"/>
                <a:gd name="T54" fmla="*/ 2147483646 w 20"/>
                <a:gd name="T55" fmla="*/ 2147483646 h 71"/>
                <a:gd name="T56" fmla="*/ 2147483646 w 20"/>
                <a:gd name="T57" fmla="*/ 2147483646 h 71"/>
                <a:gd name="T58" fmla="*/ 2147483646 w 20"/>
                <a:gd name="T59" fmla="*/ 2147483646 h 71"/>
                <a:gd name="T60" fmla="*/ 2147483646 w 20"/>
                <a:gd name="T61" fmla="*/ 2147483646 h 71"/>
                <a:gd name="T62" fmla="*/ 2147483646 w 20"/>
                <a:gd name="T63" fmla="*/ 2147483646 h 71"/>
                <a:gd name="T64" fmla="*/ 2147483646 w 20"/>
                <a:gd name="T65" fmla="*/ 2147483646 h 71"/>
                <a:gd name="T66" fmla="*/ 2147483646 w 20"/>
                <a:gd name="T67" fmla="*/ 2147483646 h 71"/>
                <a:gd name="T68" fmla="*/ 2147483646 w 20"/>
                <a:gd name="T69" fmla="*/ 2147483646 h 71"/>
                <a:gd name="T70" fmla="*/ 2147483646 w 20"/>
                <a:gd name="T71" fmla="*/ 2147483646 h 71"/>
                <a:gd name="T72" fmla="*/ 2147483646 w 20"/>
                <a:gd name="T73" fmla="*/ 2147483646 h 71"/>
                <a:gd name="T74" fmla="*/ 2147483646 w 20"/>
                <a:gd name="T75" fmla="*/ 2147483646 h 71"/>
                <a:gd name="T76" fmla="*/ 2147483646 w 20"/>
                <a:gd name="T77" fmla="*/ 2147483646 h 71"/>
                <a:gd name="T78" fmla="*/ 2147483646 w 20"/>
                <a:gd name="T79" fmla="*/ 2147483646 h 71"/>
                <a:gd name="T80" fmla="*/ 2147483646 w 20"/>
                <a:gd name="T81" fmla="*/ 2147483646 h 71"/>
                <a:gd name="T82" fmla="*/ 2147483646 w 20"/>
                <a:gd name="T83" fmla="*/ 2147483646 h 71"/>
                <a:gd name="T84" fmla="*/ 2147483646 w 20"/>
                <a:gd name="T85" fmla="*/ 2147483646 h 71"/>
                <a:gd name="T86" fmla="*/ 2147483646 w 20"/>
                <a:gd name="T87" fmla="*/ 2147483646 h 71"/>
                <a:gd name="T88" fmla="*/ 2147483646 w 20"/>
                <a:gd name="T89" fmla="*/ 2147483646 h 71"/>
                <a:gd name="T90" fmla="*/ 2147483646 w 20"/>
                <a:gd name="T91" fmla="*/ 2147483646 h 71"/>
                <a:gd name="T92" fmla="*/ 2147483646 w 20"/>
                <a:gd name="T93" fmla="*/ 2147483646 h 71"/>
                <a:gd name="T94" fmla="*/ 2147483646 w 20"/>
                <a:gd name="T95" fmla="*/ 2147483646 h 71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20" h="71">
                  <a:moveTo>
                    <a:pt x="17" y="30"/>
                  </a:moveTo>
                  <a:cubicBezTo>
                    <a:pt x="16" y="30"/>
                    <a:pt x="16" y="30"/>
                    <a:pt x="16" y="30"/>
                  </a:cubicBezTo>
                  <a:cubicBezTo>
                    <a:pt x="17" y="31"/>
                    <a:pt x="16" y="32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6" y="37"/>
                    <a:pt x="17" y="40"/>
                    <a:pt x="17" y="43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43"/>
                    <a:pt x="18" y="43"/>
                    <a:pt x="18" y="44"/>
                  </a:cubicBezTo>
                  <a:cubicBezTo>
                    <a:pt x="17" y="44"/>
                    <a:pt x="17" y="44"/>
                    <a:pt x="17" y="43"/>
                  </a:cubicBezTo>
                  <a:cubicBezTo>
                    <a:pt x="17" y="44"/>
                    <a:pt x="18" y="46"/>
                    <a:pt x="17" y="46"/>
                  </a:cubicBezTo>
                  <a:cubicBezTo>
                    <a:pt x="17" y="46"/>
                    <a:pt x="18" y="46"/>
                    <a:pt x="18" y="46"/>
                  </a:cubicBezTo>
                  <a:cubicBezTo>
                    <a:pt x="18" y="49"/>
                    <a:pt x="18" y="51"/>
                    <a:pt x="19" y="54"/>
                  </a:cubicBezTo>
                  <a:cubicBezTo>
                    <a:pt x="19" y="54"/>
                    <a:pt x="18" y="54"/>
                    <a:pt x="18" y="54"/>
                  </a:cubicBezTo>
                  <a:cubicBezTo>
                    <a:pt x="19" y="56"/>
                    <a:pt x="19" y="59"/>
                    <a:pt x="19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0" y="60"/>
                    <a:pt x="19" y="60"/>
                    <a:pt x="19" y="59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20" y="59"/>
                    <a:pt x="19" y="59"/>
                    <a:pt x="19" y="59"/>
                  </a:cubicBezTo>
                  <a:cubicBezTo>
                    <a:pt x="19" y="58"/>
                    <a:pt x="20" y="59"/>
                    <a:pt x="20" y="58"/>
                  </a:cubicBezTo>
                  <a:cubicBezTo>
                    <a:pt x="19" y="57"/>
                    <a:pt x="20" y="56"/>
                    <a:pt x="19" y="55"/>
                  </a:cubicBezTo>
                  <a:cubicBezTo>
                    <a:pt x="20" y="55"/>
                    <a:pt x="19" y="54"/>
                    <a:pt x="20" y="54"/>
                  </a:cubicBezTo>
                  <a:cubicBezTo>
                    <a:pt x="19" y="54"/>
                    <a:pt x="19" y="53"/>
                    <a:pt x="19" y="53"/>
                  </a:cubicBezTo>
                  <a:cubicBezTo>
                    <a:pt x="19" y="50"/>
                    <a:pt x="19" y="46"/>
                    <a:pt x="19" y="42"/>
                  </a:cubicBezTo>
                  <a:cubicBezTo>
                    <a:pt x="17" y="41"/>
                    <a:pt x="19" y="38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8" y="36"/>
                    <a:pt x="18" y="35"/>
                    <a:pt x="18" y="34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9" y="28"/>
                    <a:pt x="18" y="24"/>
                    <a:pt x="19" y="19"/>
                  </a:cubicBezTo>
                  <a:cubicBezTo>
                    <a:pt x="19" y="16"/>
                    <a:pt x="19" y="13"/>
                    <a:pt x="19" y="11"/>
                  </a:cubicBezTo>
                  <a:cubicBezTo>
                    <a:pt x="19" y="10"/>
                    <a:pt x="19" y="9"/>
                    <a:pt x="19" y="9"/>
                  </a:cubicBezTo>
                  <a:cubicBezTo>
                    <a:pt x="19" y="8"/>
                    <a:pt x="19" y="7"/>
                    <a:pt x="19" y="6"/>
                  </a:cubicBezTo>
                  <a:cubicBezTo>
                    <a:pt x="19" y="6"/>
                    <a:pt x="18" y="6"/>
                    <a:pt x="18" y="5"/>
                  </a:cubicBezTo>
                  <a:cubicBezTo>
                    <a:pt x="18" y="5"/>
                    <a:pt x="18" y="5"/>
                    <a:pt x="18" y="4"/>
                  </a:cubicBezTo>
                  <a:cubicBezTo>
                    <a:pt x="17" y="4"/>
                    <a:pt x="16" y="3"/>
                    <a:pt x="16" y="3"/>
                  </a:cubicBezTo>
                  <a:cubicBezTo>
                    <a:pt x="16" y="3"/>
                    <a:pt x="16" y="2"/>
                    <a:pt x="16" y="3"/>
                  </a:cubicBezTo>
                  <a:cubicBezTo>
                    <a:pt x="16" y="2"/>
                    <a:pt x="15" y="2"/>
                    <a:pt x="15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3" y="0"/>
                    <a:pt x="13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7" y="0"/>
                    <a:pt x="5" y="1"/>
                  </a:cubicBezTo>
                  <a:cubicBezTo>
                    <a:pt x="3" y="2"/>
                    <a:pt x="2" y="4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11"/>
                    <a:pt x="1" y="12"/>
                    <a:pt x="1" y="13"/>
                  </a:cubicBezTo>
                  <a:cubicBezTo>
                    <a:pt x="1" y="15"/>
                    <a:pt x="2" y="17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3"/>
                    <a:pt x="1" y="27"/>
                    <a:pt x="1" y="30"/>
                  </a:cubicBezTo>
                  <a:cubicBezTo>
                    <a:pt x="1" y="34"/>
                    <a:pt x="3" y="38"/>
                    <a:pt x="2" y="42"/>
                  </a:cubicBezTo>
                  <a:cubicBezTo>
                    <a:pt x="1" y="44"/>
                    <a:pt x="3" y="47"/>
                    <a:pt x="2" y="49"/>
                  </a:cubicBezTo>
                  <a:cubicBezTo>
                    <a:pt x="0" y="54"/>
                    <a:pt x="1" y="58"/>
                    <a:pt x="2" y="63"/>
                  </a:cubicBezTo>
                  <a:cubicBezTo>
                    <a:pt x="2" y="65"/>
                    <a:pt x="3" y="67"/>
                    <a:pt x="4" y="68"/>
                  </a:cubicBezTo>
                  <a:cubicBezTo>
                    <a:pt x="6" y="69"/>
                    <a:pt x="7" y="70"/>
                    <a:pt x="9" y="71"/>
                  </a:cubicBezTo>
                  <a:cubicBezTo>
                    <a:pt x="10" y="70"/>
                    <a:pt x="10" y="70"/>
                    <a:pt x="11" y="70"/>
                  </a:cubicBezTo>
                  <a:cubicBezTo>
                    <a:pt x="11" y="70"/>
                    <a:pt x="12" y="70"/>
                    <a:pt x="12" y="70"/>
                  </a:cubicBezTo>
                  <a:cubicBezTo>
                    <a:pt x="13" y="70"/>
                    <a:pt x="13" y="70"/>
                    <a:pt x="14" y="70"/>
                  </a:cubicBezTo>
                  <a:cubicBezTo>
                    <a:pt x="14" y="70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6" y="69"/>
                    <a:pt x="16" y="68"/>
                    <a:pt x="16" y="68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17" y="67"/>
                    <a:pt x="17" y="67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6" y="65"/>
                    <a:pt x="16" y="66"/>
                    <a:pt x="17" y="65"/>
                  </a:cubicBezTo>
                  <a:cubicBezTo>
                    <a:pt x="17" y="65"/>
                    <a:pt x="16" y="65"/>
                    <a:pt x="16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4"/>
                    <a:pt x="17" y="64"/>
                    <a:pt x="18" y="64"/>
                  </a:cubicBezTo>
                  <a:cubicBezTo>
                    <a:pt x="18" y="64"/>
                    <a:pt x="18" y="64"/>
                    <a:pt x="19" y="64"/>
                  </a:cubicBezTo>
                  <a:cubicBezTo>
                    <a:pt x="19" y="64"/>
                    <a:pt x="19" y="63"/>
                    <a:pt x="18" y="63"/>
                  </a:cubicBezTo>
                  <a:cubicBezTo>
                    <a:pt x="17" y="63"/>
                    <a:pt x="17" y="63"/>
                    <a:pt x="16" y="63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5" y="66"/>
                    <a:pt x="14" y="65"/>
                  </a:cubicBezTo>
                  <a:cubicBezTo>
                    <a:pt x="14" y="66"/>
                    <a:pt x="14" y="67"/>
                    <a:pt x="13" y="68"/>
                  </a:cubicBezTo>
                  <a:cubicBezTo>
                    <a:pt x="13" y="68"/>
                    <a:pt x="12" y="68"/>
                    <a:pt x="12" y="69"/>
                  </a:cubicBezTo>
                  <a:cubicBezTo>
                    <a:pt x="12" y="68"/>
                    <a:pt x="11" y="68"/>
                    <a:pt x="11" y="69"/>
                  </a:cubicBezTo>
                  <a:cubicBezTo>
                    <a:pt x="11" y="68"/>
                    <a:pt x="11" y="68"/>
                    <a:pt x="11" y="68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10" y="69"/>
                    <a:pt x="10" y="69"/>
                    <a:pt x="10" y="68"/>
                  </a:cubicBezTo>
                  <a:cubicBezTo>
                    <a:pt x="10" y="69"/>
                    <a:pt x="9" y="69"/>
                    <a:pt x="9" y="68"/>
                  </a:cubicBezTo>
                  <a:cubicBezTo>
                    <a:pt x="9" y="68"/>
                    <a:pt x="9" y="68"/>
                    <a:pt x="8" y="69"/>
                  </a:cubicBezTo>
                  <a:cubicBezTo>
                    <a:pt x="8" y="69"/>
                    <a:pt x="8" y="68"/>
                    <a:pt x="8" y="68"/>
                  </a:cubicBezTo>
                  <a:cubicBezTo>
                    <a:pt x="7" y="68"/>
                    <a:pt x="7" y="67"/>
                    <a:pt x="6" y="67"/>
                  </a:cubicBezTo>
                  <a:cubicBezTo>
                    <a:pt x="6" y="67"/>
                    <a:pt x="6" y="66"/>
                    <a:pt x="5" y="66"/>
                  </a:cubicBezTo>
                  <a:cubicBezTo>
                    <a:pt x="5" y="66"/>
                    <a:pt x="5" y="66"/>
                    <a:pt x="4" y="66"/>
                  </a:cubicBezTo>
                  <a:cubicBezTo>
                    <a:pt x="4" y="65"/>
                    <a:pt x="5" y="64"/>
                    <a:pt x="4" y="64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3"/>
                    <a:pt x="4" y="63"/>
                    <a:pt x="4" y="62"/>
                  </a:cubicBezTo>
                  <a:cubicBezTo>
                    <a:pt x="4" y="61"/>
                    <a:pt x="4" y="61"/>
                    <a:pt x="3" y="61"/>
                  </a:cubicBezTo>
                  <a:cubicBezTo>
                    <a:pt x="5" y="60"/>
                    <a:pt x="4" y="60"/>
                    <a:pt x="5" y="59"/>
                  </a:cubicBezTo>
                  <a:cubicBezTo>
                    <a:pt x="4" y="59"/>
                    <a:pt x="4" y="57"/>
                    <a:pt x="4" y="56"/>
                  </a:cubicBezTo>
                  <a:cubicBezTo>
                    <a:pt x="4" y="56"/>
                    <a:pt x="4" y="55"/>
                    <a:pt x="4" y="55"/>
                  </a:cubicBezTo>
                  <a:cubicBezTo>
                    <a:pt x="3" y="52"/>
                    <a:pt x="3" y="48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4" y="45"/>
                    <a:pt x="3" y="44"/>
                    <a:pt x="3" y="44"/>
                  </a:cubicBezTo>
                  <a:cubicBezTo>
                    <a:pt x="3" y="44"/>
                    <a:pt x="3" y="44"/>
                    <a:pt x="3" y="44"/>
                  </a:cubicBezTo>
                  <a:cubicBezTo>
                    <a:pt x="3" y="43"/>
                    <a:pt x="3" y="43"/>
                    <a:pt x="3" y="42"/>
                  </a:cubicBezTo>
                  <a:cubicBezTo>
                    <a:pt x="3" y="42"/>
                    <a:pt x="3" y="42"/>
                    <a:pt x="4" y="42"/>
                  </a:cubicBezTo>
                  <a:cubicBezTo>
                    <a:pt x="3" y="42"/>
                    <a:pt x="4" y="41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35"/>
                    <a:pt x="3" y="30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3" y="24"/>
                    <a:pt x="3" y="24"/>
                  </a:cubicBezTo>
                  <a:cubicBezTo>
                    <a:pt x="4" y="22"/>
                    <a:pt x="3" y="21"/>
                    <a:pt x="3" y="20"/>
                  </a:cubicBezTo>
                  <a:cubicBezTo>
                    <a:pt x="3" y="20"/>
                    <a:pt x="3" y="20"/>
                    <a:pt x="4" y="20"/>
                  </a:cubicBezTo>
                  <a:cubicBezTo>
                    <a:pt x="3" y="19"/>
                    <a:pt x="4" y="18"/>
                    <a:pt x="3" y="18"/>
                  </a:cubicBezTo>
                  <a:cubicBezTo>
                    <a:pt x="3" y="18"/>
                    <a:pt x="3" y="18"/>
                    <a:pt x="4" y="18"/>
                  </a:cubicBezTo>
                  <a:cubicBezTo>
                    <a:pt x="3" y="15"/>
                    <a:pt x="3" y="12"/>
                    <a:pt x="3" y="10"/>
                  </a:cubicBezTo>
                  <a:cubicBezTo>
                    <a:pt x="3" y="9"/>
                    <a:pt x="3" y="9"/>
                    <a:pt x="3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2"/>
                    <a:pt x="7" y="2"/>
                    <a:pt x="8" y="1"/>
                  </a:cubicBezTo>
                  <a:cubicBezTo>
                    <a:pt x="10" y="1"/>
                    <a:pt x="11" y="2"/>
                    <a:pt x="12" y="2"/>
                  </a:cubicBezTo>
                  <a:cubicBezTo>
                    <a:pt x="13" y="3"/>
                    <a:pt x="14" y="3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6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6" y="6"/>
                    <a:pt x="16" y="6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6" y="9"/>
                    <a:pt x="17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6" y="11"/>
                    <a:pt x="17" y="11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3"/>
                    <a:pt x="16" y="14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6" y="19"/>
                    <a:pt x="17" y="21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7" y="23"/>
                    <a:pt x="16" y="24"/>
                    <a:pt x="17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7" y="28"/>
                    <a:pt x="17" y="3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2" name="Freeform 943">
              <a:extLst>
                <a:ext uri="{FF2B5EF4-FFF2-40B4-BE49-F238E27FC236}">
                  <a16:creationId xmlns:a16="http://schemas.microsoft.com/office/drawing/2014/main" id="{5FDC655E-7866-46AD-9DAC-F0600CA1D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3438" y="1196976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3" name="Freeform 944">
              <a:extLst>
                <a:ext uri="{FF2B5EF4-FFF2-40B4-BE49-F238E27FC236}">
                  <a16:creationId xmlns:a16="http://schemas.microsoft.com/office/drawing/2014/main" id="{884D7904-FE46-45E1-9993-E7CB74713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913" y="1296988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 w="9525">
              <a:solidFill>
                <a:srgbClr val="F40009"/>
              </a:solidFill>
              <a:round/>
              <a:headEnd/>
              <a:tailEnd/>
            </a:ln>
          </p:spPr>
          <p:txBody>
            <a:bodyPr/>
            <a:lstStyle/>
            <a:p>
              <a:pPr defTabSz="54864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sp>
        <p:nvSpPr>
          <p:cNvPr id="34" name="Freeform 35">
            <a:extLst>
              <a:ext uri="{FF2B5EF4-FFF2-40B4-BE49-F238E27FC236}">
                <a16:creationId xmlns:a16="http://schemas.microsoft.com/office/drawing/2014/main" id="{76E4B024-FD10-44DB-BC1E-5911E020FE7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279411" y="4969949"/>
            <a:ext cx="444301" cy="379350"/>
          </a:xfrm>
          <a:custGeom>
            <a:avLst/>
            <a:gdLst>
              <a:gd name="T0" fmla="*/ 2147483646 w 213"/>
              <a:gd name="T1" fmla="*/ 2147483646 h 182"/>
              <a:gd name="T2" fmla="*/ 2147483646 w 213"/>
              <a:gd name="T3" fmla="*/ 2147483646 h 182"/>
              <a:gd name="T4" fmla="*/ 2147483646 w 213"/>
              <a:gd name="T5" fmla="*/ 2147483646 h 182"/>
              <a:gd name="T6" fmla="*/ 2147483646 w 213"/>
              <a:gd name="T7" fmla="*/ 2147483646 h 182"/>
              <a:gd name="T8" fmla="*/ 2147483646 w 213"/>
              <a:gd name="T9" fmla="*/ 2147483646 h 182"/>
              <a:gd name="T10" fmla="*/ 2147483646 w 213"/>
              <a:gd name="T11" fmla="*/ 2147483646 h 182"/>
              <a:gd name="T12" fmla="*/ 2147483646 w 213"/>
              <a:gd name="T13" fmla="*/ 2147483646 h 182"/>
              <a:gd name="T14" fmla="*/ 2147483646 w 213"/>
              <a:gd name="T15" fmla="*/ 2147483646 h 182"/>
              <a:gd name="T16" fmla="*/ 2147483646 w 213"/>
              <a:gd name="T17" fmla="*/ 2147483646 h 182"/>
              <a:gd name="T18" fmla="*/ 2147483646 w 213"/>
              <a:gd name="T19" fmla="*/ 2147483646 h 182"/>
              <a:gd name="T20" fmla="*/ 2147483646 w 213"/>
              <a:gd name="T21" fmla="*/ 2147483646 h 182"/>
              <a:gd name="T22" fmla="*/ 2147483646 w 213"/>
              <a:gd name="T23" fmla="*/ 2147483646 h 182"/>
              <a:gd name="T24" fmla="*/ 2147483646 w 213"/>
              <a:gd name="T25" fmla="*/ 2147483646 h 182"/>
              <a:gd name="T26" fmla="*/ 2147483646 w 213"/>
              <a:gd name="T27" fmla="*/ 2147483646 h 182"/>
              <a:gd name="T28" fmla="*/ 2147483646 w 213"/>
              <a:gd name="T29" fmla="*/ 2147483646 h 182"/>
              <a:gd name="T30" fmla="*/ 2147483646 w 213"/>
              <a:gd name="T31" fmla="*/ 2147483646 h 182"/>
              <a:gd name="T32" fmla="*/ 2147483646 w 213"/>
              <a:gd name="T33" fmla="*/ 2147483646 h 182"/>
              <a:gd name="T34" fmla="*/ 2147483646 w 213"/>
              <a:gd name="T35" fmla="*/ 2147483646 h 182"/>
              <a:gd name="T36" fmla="*/ 2147483646 w 213"/>
              <a:gd name="T37" fmla="*/ 2147483646 h 182"/>
              <a:gd name="T38" fmla="*/ 2147483646 w 213"/>
              <a:gd name="T39" fmla="*/ 2147483646 h 182"/>
              <a:gd name="T40" fmla="*/ 2147483646 w 213"/>
              <a:gd name="T41" fmla="*/ 2147483646 h 182"/>
              <a:gd name="T42" fmla="*/ 2147483646 w 213"/>
              <a:gd name="T43" fmla="*/ 2147483646 h 182"/>
              <a:gd name="T44" fmla="*/ 2147483646 w 213"/>
              <a:gd name="T45" fmla="*/ 2147483646 h 182"/>
              <a:gd name="T46" fmla="*/ 2147483646 w 213"/>
              <a:gd name="T47" fmla="*/ 2147483646 h 182"/>
              <a:gd name="T48" fmla="*/ 2147483646 w 213"/>
              <a:gd name="T49" fmla="*/ 2147483646 h 182"/>
              <a:gd name="T50" fmla="*/ 2147483646 w 213"/>
              <a:gd name="T51" fmla="*/ 2147483646 h 182"/>
              <a:gd name="T52" fmla="*/ 2147483646 w 213"/>
              <a:gd name="T53" fmla="*/ 2147483646 h 182"/>
              <a:gd name="T54" fmla="*/ 2147483646 w 213"/>
              <a:gd name="T55" fmla="*/ 2147483646 h 182"/>
              <a:gd name="T56" fmla="*/ 2147483646 w 213"/>
              <a:gd name="T57" fmla="*/ 2147483646 h 182"/>
              <a:gd name="T58" fmla="*/ 2147483646 w 213"/>
              <a:gd name="T59" fmla="*/ 2147483646 h 182"/>
              <a:gd name="T60" fmla="*/ 2147483646 w 213"/>
              <a:gd name="T61" fmla="*/ 2147483646 h 182"/>
              <a:gd name="T62" fmla="*/ 2147483646 w 213"/>
              <a:gd name="T63" fmla="*/ 2147483646 h 182"/>
              <a:gd name="T64" fmla="*/ 2147483646 w 213"/>
              <a:gd name="T65" fmla="*/ 2147483646 h 182"/>
              <a:gd name="T66" fmla="*/ 2147483646 w 213"/>
              <a:gd name="T67" fmla="*/ 2147483646 h 182"/>
              <a:gd name="T68" fmla="*/ 2147483646 w 213"/>
              <a:gd name="T69" fmla="*/ 2147483646 h 182"/>
              <a:gd name="T70" fmla="*/ 2147483646 w 213"/>
              <a:gd name="T71" fmla="*/ 2147483646 h 182"/>
              <a:gd name="T72" fmla="*/ 2147483646 w 213"/>
              <a:gd name="T73" fmla="*/ 2147483646 h 182"/>
              <a:gd name="T74" fmla="*/ 2147483646 w 213"/>
              <a:gd name="T75" fmla="*/ 2147483646 h 182"/>
              <a:gd name="T76" fmla="*/ 2147483646 w 213"/>
              <a:gd name="T77" fmla="*/ 2147483646 h 182"/>
              <a:gd name="T78" fmla="*/ 2147483646 w 213"/>
              <a:gd name="T79" fmla="*/ 2147483646 h 182"/>
              <a:gd name="T80" fmla="*/ 2147483646 w 213"/>
              <a:gd name="T81" fmla="*/ 2147483646 h 182"/>
              <a:gd name="T82" fmla="*/ 2147483646 w 213"/>
              <a:gd name="T83" fmla="*/ 2147483646 h 182"/>
              <a:gd name="T84" fmla="*/ 2147483646 w 213"/>
              <a:gd name="T85" fmla="*/ 2147483646 h 182"/>
              <a:gd name="T86" fmla="*/ 2147483646 w 213"/>
              <a:gd name="T87" fmla="*/ 2147483646 h 182"/>
              <a:gd name="T88" fmla="*/ 2147483646 w 213"/>
              <a:gd name="T89" fmla="*/ 2147483646 h 182"/>
              <a:gd name="T90" fmla="*/ 2147483646 w 213"/>
              <a:gd name="T91" fmla="*/ 2147483646 h 182"/>
              <a:gd name="T92" fmla="*/ 2147483646 w 213"/>
              <a:gd name="T93" fmla="*/ 2147483646 h 182"/>
              <a:gd name="T94" fmla="*/ 2147483646 w 213"/>
              <a:gd name="T95" fmla="*/ 2147483646 h 182"/>
              <a:gd name="T96" fmla="*/ 2147483646 w 213"/>
              <a:gd name="T97" fmla="*/ 2147483646 h 182"/>
              <a:gd name="T98" fmla="*/ 2147483646 w 213"/>
              <a:gd name="T99" fmla="*/ 2147483646 h 182"/>
              <a:gd name="T100" fmla="*/ 2147483646 w 213"/>
              <a:gd name="T101" fmla="*/ 2147483646 h 182"/>
              <a:gd name="T102" fmla="*/ 2147483646 w 213"/>
              <a:gd name="T103" fmla="*/ 2147483646 h 182"/>
              <a:gd name="T104" fmla="*/ 2147483646 w 213"/>
              <a:gd name="T105" fmla="*/ 2147483646 h 182"/>
              <a:gd name="T106" fmla="*/ 2147483646 w 213"/>
              <a:gd name="T107" fmla="*/ 2147483646 h 182"/>
              <a:gd name="T108" fmla="*/ 2147483646 w 213"/>
              <a:gd name="T109" fmla="*/ 2147483646 h 182"/>
              <a:gd name="T110" fmla="*/ 2147483646 w 213"/>
              <a:gd name="T111" fmla="*/ 2147483646 h 182"/>
              <a:gd name="T112" fmla="*/ 2147483646 w 213"/>
              <a:gd name="T113" fmla="*/ 2147483646 h 182"/>
              <a:gd name="T114" fmla="*/ 2147483646 w 213"/>
              <a:gd name="T115" fmla="*/ 2147483646 h 182"/>
              <a:gd name="T116" fmla="*/ 2147483646 w 213"/>
              <a:gd name="T117" fmla="*/ 2147483646 h 182"/>
              <a:gd name="T118" fmla="*/ 2147483646 w 213"/>
              <a:gd name="T119" fmla="*/ 2147483646 h 182"/>
              <a:gd name="T120" fmla="*/ 2147483646 w 213"/>
              <a:gd name="T121" fmla="*/ 2147483646 h 182"/>
              <a:gd name="T122" fmla="*/ 2147483646 w 213"/>
              <a:gd name="T123" fmla="*/ 2147483646 h 182"/>
              <a:gd name="T124" fmla="*/ 2147483646 w 213"/>
              <a:gd name="T125" fmla="*/ 2147483646 h 18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13" h="182">
                <a:moveTo>
                  <a:pt x="213" y="61"/>
                </a:moveTo>
                <a:cubicBezTo>
                  <a:pt x="213" y="60"/>
                  <a:pt x="213" y="60"/>
                  <a:pt x="213" y="59"/>
                </a:cubicBezTo>
                <a:cubicBezTo>
                  <a:pt x="212" y="58"/>
                  <a:pt x="212" y="57"/>
                  <a:pt x="211" y="55"/>
                </a:cubicBezTo>
                <a:cubicBezTo>
                  <a:pt x="211" y="55"/>
                  <a:pt x="211" y="54"/>
                  <a:pt x="211" y="53"/>
                </a:cubicBezTo>
                <a:cubicBezTo>
                  <a:pt x="210" y="52"/>
                  <a:pt x="209" y="51"/>
                  <a:pt x="208" y="50"/>
                </a:cubicBezTo>
                <a:cubicBezTo>
                  <a:pt x="208" y="49"/>
                  <a:pt x="208" y="48"/>
                  <a:pt x="207" y="47"/>
                </a:cubicBezTo>
                <a:cubicBezTo>
                  <a:pt x="207" y="46"/>
                  <a:pt x="206" y="45"/>
                  <a:pt x="205" y="44"/>
                </a:cubicBezTo>
                <a:cubicBezTo>
                  <a:pt x="205" y="44"/>
                  <a:pt x="205" y="43"/>
                  <a:pt x="204" y="42"/>
                </a:cubicBezTo>
                <a:cubicBezTo>
                  <a:pt x="204" y="42"/>
                  <a:pt x="203" y="41"/>
                  <a:pt x="203" y="41"/>
                </a:cubicBezTo>
                <a:cubicBezTo>
                  <a:pt x="203" y="41"/>
                  <a:pt x="202" y="40"/>
                  <a:pt x="202" y="40"/>
                </a:cubicBezTo>
                <a:cubicBezTo>
                  <a:pt x="202" y="39"/>
                  <a:pt x="201" y="39"/>
                  <a:pt x="201" y="39"/>
                </a:cubicBezTo>
                <a:cubicBezTo>
                  <a:pt x="201" y="38"/>
                  <a:pt x="201" y="38"/>
                  <a:pt x="201" y="38"/>
                </a:cubicBezTo>
                <a:cubicBezTo>
                  <a:pt x="200" y="37"/>
                  <a:pt x="200" y="37"/>
                  <a:pt x="200" y="37"/>
                </a:cubicBezTo>
                <a:cubicBezTo>
                  <a:pt x="199" y="36"/>
                  <a:pt x="199" y="36"/>
                  <a:pt x="198" y="36"/>
                </a:cubicBezTo>
                <a:cubicBezTo>
                  <a:pt x="198" y="35"/>
                  <a:pt x="198" y="35"/>
                  <a:pt x="198" y="35"/>
                </a:cubicBezTo>
                <a:cubicBezTo>
                  <a:pt x="198" y="35"/>
                  <a:pt x="198" y="34"/>
                  <a:pt x="197" y="34"/>
                </a:cubicBezTo>
                <a:cubicBezTo>
                  <a:pt x="197" y="33"/>
                  <a:pt x="198" y="33"/>
                  <a:pt x="197" y="33"/>
                </a:cubicBezTo>
                <a:cubicBezTo>
                  <a:pt x="197" y="32"/>
                  <a:pt x="197" y="32"/>
                  <a:pt x="197" y="32"/>
                </a:cubicBezTo>
                <a:cubicBezTo>
                  <a:pt x="196" y="31"/>
                  <a:pt x="196" y="31"/>
                  <a:pt x="196" y="31"/>
                </a:cubicBezTo>
                <a:cubicBezTo>
                  <a:pt x="195" y="30"/>
                  <a:pt x="195" y="30"/>
                  <a:pt x="195" y="29"/>
                </a:cubicBezTo>
                <a:cubicBezTo>
                  <a:pt x="195" y="29"/>
                  <a:pt x="194" y="28"/>
                  <a:pt x="193" y="28"/>
                </a:cubicBezTo>
                <a:cubicBezTo>
                  <a:pt x="193" y="27"/>
                  <a:pt x="193" y="26"/>
                  <a:pt x="192" y="25"/>
                </a:cubicBezTo>
                <a:cubicBezTo>
                  <a:pt x="192" y="25"/>
                  <a:pt x="191" y="25"/>
                  <a:pt x="191" y="25"/>
                </a:cubicBezTo>
                <a:cubicBezTo>
                  <a:pt x="190" y="24"/>
                  <a:pt x="190" y="23"/>
                  <a:pt x="189" y="23"/>
                </a:cubicBezTo>
                <a:cubicBezTo>
                  <a:pt x="189" y="22"/>
                  <a:pt x="188" y="22"/>
                  <a:pt x="187" y="22"/>
                </a:cubicBezTo>
                <a:cubicBezTo>
                  <a:pt x="187" y="22"/>
                  <a:pt x="186" y="21"/>
                  <a:pt x="185" y="21"/>
                </a:cubicBezTo>
                <a:cubicBezTo>
                  <a:pt x="185" y="21"/>
                  <a:pt x="185" y="21"/>
                  <a:pt x="184" y="21"/>
                </a:cubicBezTo>
                <a:cubicBezTo>
                  <a:pt x="183" y="20"/>
                  <a:pt x="182" y="19"/>
                  <a:pt x="181" y="18"/>
                </a:cubicBezTo>
                <a:cubicBezTo>
                  <a:pt x="180" y="17"/>
                  <a:pt x="178" y="17"/>
                  <a:pt x="177" y="16"/>
                </a:cubicBezTo>
                <a:cubicBezTo>
                  <a:pt x="177" y="16"/>
                  <a:pt x="176" y="15"/>
                  <a:pt x="176" y="15"/>
                </a:cubicBezTo>
                <a:cubicBezTo>
                  <a:pt x="175" y="15"/>
                  <a:pt x="175" y="14"/>
                  <a:pt x="175" y="14"/>
                </a:cubicBezTo>
                <a:cubicBezTo>
                  <a:pt x="175" y="14"/>
                  <a:pt x="174" y="14"/>
                  <a:pt x="174" y="13"/>
                </a:cubicBezTo>
                <a:cubicBezTo>
                  <a:pt x="173" y="13"/>
                  <a:pt x="173" y="12"/>
                  <a:pt x="172" y="12"/>
                </a:cubicBezTo>
                <a:cubicBezTo>
                  <a:pt x="172" y="12"/>
                  <a:pt x="171" y="12"/>
                  <a:pt x="170" y="12"/>
                </a:cubicBezTo>
                <a:cubicBezTo>
                  <a:pt x="170" y="11"/>
                  <a:pt x="169" y="11"/>
                  <a:pt x="167" y="11"/>
                </a:cubicBezTo>
                <a:cubicBezTo>
                  <a:pt x="166" y="11"/>
                  <a:pt x="166" y="11"/>
                  <a:pt x="166" y="11"/>
                </a:cubicBezTo>
                <a:cubicBezTo>
                  <a:pt x="166" y="10"/>
                  <a:pt x="166" y="10"/>
                  <a:pt x="166" y="10"/>
                </a:cubicBezTo>
                <a:cubicBezTo>
                  <a:pt x="165" y="10"/>
                  <a:pt x="164" y="9"/>
                  <a:pt x="163" y="9"/>
                </a:cubicBezTo>
                <a:cubicBezTo>
                  <a:pt x="163" y="9"/>
                  <a:pt x="163" y="9"/>
                  <a:pt x="162" y="9"/>
                </a:cubicBezTo>
                <a:cubicBezTo>
                  <a:pt x="162" y="9"/>
                  <a:pt x="162" y="9"/>
                  <a:pt x="161" y="9"/>
                </a:cubicBezTo>
                <a:cubicBezTo>
                  <a:pt x="161" y="8"/>
                  <a:pt x="161" y="8"/>
                  <a:pt x="160" y="8"/>
                </a:cubicBezTo>
                <a:cubicBezTo>
                  <a:pt x="158" y="8"/>
                  <a:pt x="157" y="6"/>
                  <a:pt x="154" y="6"/>
                </a:cubicBezTo>
                <a:cubicBezTo>
                  <a:pt x="154" y="6"/>
                  <a:pt x="153" y="6"/>
                  <a:pt x="153" y="6"/>
                </a:cubicBezTo>
                <a:cubicBezTo>
                  <a:pt x="151" y="6"/>
                  <a:pt x="150" y="6"/>
                  <a:pt x="149" y="6"/>
                </a:cubicBezTo>
                <a:cubicBezTo>
                  <a:pt x="148" y="6"/>
                  <a:pt x="148" y="6"/>
                  <a:pt x="147" y="6"/>
                </a:cubicBezTo>
                <a:cubicBezTo>
                  <a:pt x="147" y="6"/>
                  <a:pt x="146" y="6"/>
                  <a:pt x="145" y="6"/>
                </a:cubicBezTo>
                <a:cubicBezTo>
                  <a:pt x="142" y="5"/>
                  <a:pt x="139" y="3"/>
                  <a:pt x="137" y="2"/>
                </a:cubicBezTo>
                <a:cubicBezTo>
                  <a:pt x="135" y="2"/>
                  <a:pt x="131" y="1"/>
                  <a:pt x="130" y="2"/>
                </a:cubicBezTo>
                <a:cubicBezTo>
                  <a:pt x="130" y="2"/>
                  <a:pt x="129" y="2"/>
                  <a:pt x="128" y="2"/>
                </a:cubicBezTo>
                <a:cubicBezTo>
                  <a:pt x="127" y="1"/>
                  <a:pt x="125" y="2"/>
                  <a:pt x="124" y="1"/>
                </a:cubicBezTo>
                <a:cubicBezTo>
                  <a:pt x="120" y="1"/>
                  <a:pt x="116" y="0"/>
                  <a:pt x="112" y="0"/>
                </a:cubicBezTo>
                <a:cubicBezTo>
                  <a:pt x="112" y="1"/>
                  <a:pt x="111" y="1"/>
                  <a:pt x="111" y="1"/>
                </a:cubicBezTo>
                <a:cubicBezTo>
                  <a:pt x="110" y="1"/>
                  <a:pt x="110" y="2"/>
                  <a:pt x="110" y="2"/>
                </a:cubicBezTo>
                <a:cubicBezTo>
                  <a:pt x="109" y="2"/>
                  <a:pt x="109" y="2"/>
                  <a:pt x="109" y="2"/>
                </a:cubicBezTo>
                <a:cubicBezTo>
                  <a:pt x="108" y="2"/>
                  <a:pt x="108" y="2"/>
                  <a:pt x="108" y="2"/>
                </a:cubicBezTo>
                <a:cubicBezTo>
                  <a:pt x="107" y="1"/>
                  <a:pt x="107" y="1"/>
                  <a:pt x="106" y="1"/>
                </a:cubicBezTo>
                <a:cubicBezTo>
                  <a:pt x="104" y="2"/>
                  <a:pt x="100" y="2"/>
                  <a:pt x="97" y="1"/>
                </a:cubicBezTo>
                <a:cubicBezTo>
                  <a:pt x="97" y="1"/>
                  <a:pt x="96" y="1"/>
                  <a:pt x="96" y="1"/>
                </a:cubicBezTo>
                <a:cubicBezTo>
                  <a:pt x="95" y="1"/>
                  <a:pt x="94" y="2"/>
                  <a:pt x="93" y="2"/>
                </a:cubicBezTo>
                <a:cubicBezTo>
                  <a:pt x="93" y="1"/>
                  <a:pt x="90" y="1"/>
                  <a:pt x="90" y="1"/>
                </a:cubicBezTo>
                <a:cubicBezTo>
                  <a:pt x="90" y="1"/>
                  <a:pt x="89" y="2"/>
                  <a:pt x="89" y="2"/>
                </a:cubicBezTo>
                <a:cubicBezTo>
                  <a:pt x="88" y="2"/>
                  <a:pt x="87" y="2"/>
                  <a:pt x="86" y="2"/>
                </a:cubicBezTo>
                <a:cubicBezTo>
                  <a:pt x="86" y="2"/>
                  <a:pt x="85" y="2"/>
                  <a:pt x="85" y="3"/>
                </a:cubicBezTo>
                <a:cubicBezTo>
                  <a:pt x="84" y="3"/>
                  <a:pt x="83" y="3"/>
                  <a:pt x="83" y="3"/>
                </a:cubicBezTo>
                <a:cubicBezTo>
                  <a:pt x="82" y="3"/>
                  <a:pt x="81" y="4"/>
                  <a:pt x="81" y="5"/>
                </a:cubicBezTo>
                <a:cubicBezTo>
                  <a:pt x="81" y="5"/>
                  <a:pt x="80" y="5"/>
                  <a:pt x="80" y="5"/>
                </a:cubicBezTo>
                <a:cubicBezTo>
                  <a:pt x="79" y="6"/>
                  <a:pt x="79" y="8"/>
                  <a:pt x="78" y="9"/>
                </a:cubicBezTo>
                <a:cubicBezTo>
                  <a:pt x="77" y="9"/>
                  <a:pt x="76" y="9"/>
                  <a:pt x="76" y="9"/>
                </a:cubicBezTo>
                <a:cubicBezTo>
                  <a:pt x="75" y="9"/>
                  <a:pt x="75" y="9"/>
                  <a:pt x="74" y="10"/>
                </a:cubicBezTo>
                <a:cubicBezTo>
                  <a:pt x="73" y="10"/>
                  <a:pt x="73" y="10"/>
                  <a:pt x="73" y="10"/>
                </a:cubicBezTo>
                <a:cubicBezTo>
                  <a:pt x="72" y="10"/>
                  <a:pt x="70" y="10"/>
                  <a:pt x="69" y="10"/>
                </a:cubicBezTo>
                <a:cubicBezTo>
                  <a:pt x="65" y="12"/>
                  <a:pt x="62" y="13"/>
                  <a:pt x="59" y="14"/>
                </a:cubicBezTo>
                <a:cubicBezTo>
                  <a:pt x="56" y="16"/>
                  <a:pt x="54" y="16"/>
                  <a:pt x="51" y="17"/>
                </a:cubicBezTo>
                <a:cubicBezTo>
                  <a:pt x="49" y="18"/>
                  <a:pt x="48" y="19"/>
                  <a:pt x="47" y="20"/>
                </a:cubicBezTo>
                <a:cubicBezTo>
                  <a:pt x="46" y="21"/>
                  <a:pt x="45" y="21"/>
                  <a:pt x="44" y="21"/>
                </a:cubicBezTo>
                <a:cubicBezTo>
                  <a:pt x="44" y="22"/>
                  <a:pt x="44" y="22"/>
                  <a:pt x="43" y="23"/>
                </a:cubicBezTo>
                <a:cubicBezTo>
                  <a:pt x="43" y="23"/>
                  <a:pt x="42" y="24"/>
                  <a:pt x="41" y="24"/>
                </a:cubicBezTo>
                <a:cubicBezTo>
                  <a:pt x="41" y="24"/>
                  <a:pt x="41" y="25"/>
                  <a:pt x="40" y="26"/>
                </a:cubicBezTo>
                <a:cubicBezTo>
                  <a:pt x="40" y="26"/>
                  <a:pt x="40" y="26"/>
                  <a:pt x="39" y="26"/>
                </a:cubicBezTo>
                <a:cubicBezTo>
                  <a:pt x="38" y="28"/>
                  <a:pt x="37" y="29"/>
                  <a:pt x="36" y="31"/>
                </a:cubicBezTo>
                <a:cubicBezTo>
                  <a:pt x="35" y="32"/>
                  <a:pt x="35" y="33"/>
                  <a:pt x="34" y="34"/>
                </a:cubicBezTo>
                <a:cubicBezTo>
                  <a:pt x="34" y="34"/>
                  <a:pt x="34" y="35"/>
                  <a:pt x="34" y="35"/>
                </a:cubicBezTo>
                <a:cubicBezTo>
                  <a:pt x="33" y="35"/>
                  <a:pt x="33" y="36"/>
                  <a:pt x="33" y="37"/>
                </a:cubicBezTo>
                <a:cubicBezTo>
                  <a:pt x="32" y="37"/>
                  <a:pt x="31" y="38"/>
                  <a:pt x="31" y="38"/>
                </a:cubicBezTo>
                <a:cubicBezTo>
                  <a:pt x="29" y="39"/>
                  <a:pt x="28" y="41"/>
                  <a:pt x="26" y="42"/>
                </a:cubicBezTo>
                <a:cubicBezTo>
                  <a:pt x="25" y="43"/>
                  <a:pt x="25" y="43"/>
                  <a:pt x="25" y="43"/>
                </a:cubicBezTo>
                <a:cubicBezTo>
                  <a:pt x="25" y="44"/>
                  <a:pt x="25" y="44"/>
                  <a:pt x="24" y="44"/>
                </a:cubicBezTo>
                <a:cubicBezTo>
                  <a:pt x="24" y="44"/>
                  <a:pt x="24" y="45"/>
                  <a:pt x="24" y="45"/>
                </a:cubicBezTo>
                <a:cubicBezTo>
                  <a:pt x="23" y="46"/>
                  <a:pt x="23" y="46"/>
                  <a:pt x="22" y="46"/>
                </a:cubicBezTo>
                <a:cubicBezTo>
                  <a:pt x="22" y="47"/>
                  <a:pt x="22" y="47"/>
                  <a:pt x="22" y="47"/>
                </a:cubicBezTo>
                <a:cubicBezTo>
                  <a:pt x="22" y="48"/>
                  <a:pt x="21" y="48"/>
                  <a:pt x="21" y="49"/>
                </a:cubicBezTo>
                <a:cubicBezTo>
                  <a:pt x="20" y="49"/>
                  <a:pt x="20" y="50"/>
                  <a:pt x="20" y="51"/>
                </a:cubicBezTo>
                <a:cubicBezTo>
                  <a:pt x="19" y="52"/>
                  <a:pt x="18" y="52"/>
                  <a:pt x="17" y="53"/>
                </a:cubicBezTo>
                <a:cubicBezTo>
                  <a:pt x="16" y="53"/>
                  <a:pt x="15" y="55"/>
                  <a:pt x="14" y="56"/>
                </a:cubicBezTo>
                <a:cubicBezTo>
                  <a:pt x="14" y="56"/>
                  <a:pt x="14" y="57"/>
                  <a:pt x="14" y="58"/>
                </a:cubicBezTo>
                <a:cubicBezTo>
                  <a:pt x="13" y="58"/>
                  <a:pt x="12" y="59"/>
                  <a:pt x="12" y="60"/>
                </a:cubicBezTo>
                <a:cubicBezTo>
                  <a:pt x="12" y="60"/>
                  <a:pt x="12" y="61"/>
                  <a:pt x="12" y="61"/>
                </a:cubicBezTo>
                <a:cubicBezTo>
                  <a:pt x="11" y="61"/>
                  <a:pt x="11" y="62"/>
                  <a:pt x="11" y="62"/>
                </a:cubicBezTo>
                <a:cubicBezTo>
                  <a:pt x="11" y="62"/>
                  <a:pt x="11" y="62"/>
                  <a:pt x="11" y="62"/>
                </a:cubicBezTo>
                <a:cubicBezTo>
                  <a:pt x="10" y="63"/>
                  <a:pt x="10" y="64"/>
                  <a:pt x="9" y="65"/>
                </a:cubicBezTo>
                <a:cubicBezTo>
                  <a:pt x="9" y="66"/>
                  <a:pt x="9" y="66"/>
                  <a:pt x="9" y="66"/>
                </a:cubicBezTo>
                <a:cubicBezTo>
                  <a:pt x="9" y="67"/>
                  <a:pt x="8" y="67"/>
                  <a:pt x="8" y="68"/>
                </a:cubicBezTo>
                <a:cubicBezTo>
                  <a:pt x="8" y="68"/>
                  <a:pt x="8" y="69"/>
                  <a:pt x="8" y="69"/>
                </a:cubicBezTo>
                <a:cubicBezTo>
                  <a:pt x="8" y="70"/>
                  <a:pt x="8" y="71"/>
                  <a:pt x="7" y="71"/>
                </a:cubicBezTo>
                <a:cubicBezTo>
                  <a:pt x="7" y="72"/>
                  <a:pt x="7" y="72"/>
                  <a:pt x="7" y="72"/>
                </a:cubicBezTo>
                <a:cubicBezTo>
                  <a:pt x="7" y="73"/>
                  <a:pt x="7" y="73"/>
                  <a:pt x="7" y="73"/>
                </a:cubicBezTo>
                <a:cubicBezTo>
                  <a:pt x="6" y="73"/>
                  <a:pt x="5" y="74"/>
                  <a:pt x="5" y="75"/>
                </a:cubicBezTo>
                <a:cubicBezTo>
                  <a:pt x="5" y="75"/>
                  <a:pt x="5" y="75"/>
                  <a:pt x="5" y="76"/>
                </a:cubicBezTo>
                <a:cubicBezTo>
                  <a:pt x="5" y="77"/>
                  <a:pt x="4" y="78"/>
                  <a:pt x="4" y="79"/>
                </a:cubicBezTo>
                <a:cubicBezTo>
                  <a:pt x="4" y="79"/>
                  <a:pt x="4" y="79"/>
                  <a:pt x="4" y="80"/>
                </a:cubicBezTo>
                <a:cubicBezTo>
                  <a:pt x="4" y="80"/>
                  <a:pt x="4" y="80"/>
                  <a:pt x="4" y="81"/>
                </a:cubicBezTo>
                <a:cubicBezTo>
                  <a:pt x="4" y="81"/>
                  <a:pt x="3" y="81"/>
                  <a:pt x="3" y="82"/>
                </a:cubicBezTo>
                <a:cubicBezTo>
                  <a:pt x="3" y="82"/>
                  <a:pt x="3" y="82"/>
                  <a:pt x="3" y="83"/>
                </a:cubicBezTo>
                <a:cubicBezTo>
                  <a:pt x="3" y="83"/>
                  <a:pt x="3" y="84"/>
                  <a:pt x="3" y="85"/>
                </a:cubicBezTo>
                <a:cubicBezTo>
                  <a:pt x="3" y="85"/>
                  <a:pt x="3" y="86"/>
                  <a:pt x="3" y="86"/>
                </a:cubicBezTo>
                <a:cubicBezTo>
                  <a:pt x="2" y="87"/>
                  <a:pt x="2" y="87"/>
                  <a:pt x="2" y="87"/>
                </a:cubicBezTo>
                <a:cubicBezTo>
                  <a:pt x="2" y="88"/>
                  <a:pt x="2" y="89"/>
                  <a:pt x="2" y="90"/>
                </a:cubicBezTo>
                <a:cubicBezTo>
                  <a:pt x="2" y="90"/>
                  <a:pt x="1" y="90"/>
                  <a:pt x="1" y="91"/>
                </a:cubicBezTo>
                <a:cubicBezTo>
                  <a:pt x="1" y="91"/>
                  <a:pt x="1" y="91"/>
                  <a:pt x="1" y="92"/>
                </a:cubicBezTo>
                <a:cubicBezTo>
                  <a:pt x="1" y="92"/>
                  <a:pt x="1" y="92"/>
                  <a:pt x="1" y="93"/>
                </a:cubicBezTo>
                <a:cubicBezTo>
                  <a:pt x="1" y="93"/>
                  <a:pt x="1" y="94"/>
                  <a:pt x="1" y="95"/>
                </a:cubicBezTo>
                <a:cubicBezTo>
                  <a:pt x="1" y="98"/>
                  <a:pt x="1" y="101"/>
                  <a:pt x="1" y="105"/>
                </a:cubicBezTo>
                <a:cubicBezTo>
                  <a:pt x="1" y="106"/>
                  <a:pt x="1" y="107"/>
                  <a:pt x="1" y="108"/>
                </a:cubicBezTo>
                <a:cubicBezTo>
                  <a:pt x="0" y="108"/>
                  <a:pt x="1" y="109"/>
                  <a:pt x="1" y="109"/>
                </a:cubicBezTo>
                <a:cubicBezTo>
                  <a:pt x="1" y="111"/>
                  <a:pt x="1" y="111"/>
                  <a:pt x="1" y="111"/>
                </a:cubicBezTo>
                <a:cubicBezTo>
                  <a:pt x="1" y="112"/>
                  <a:pt x="1" y="113"/>
                  <a:pt x="1" y="114"/>
                </a:cubicBezTo>
                <a:cubicBezTo>
                  <a:pt x="2" y="118"/>
                  <a:pt x="4" y="121"/>
                  <a:pt x="5" y="123"/>
                </a:cubicBezTo>
                <a:cubicBezTo>
                  <a:pt x="6" y="124"/>
                  <a:pt x="6" y="124"/>
                  <a:pt x="7" y="125"/>
                </a:cubicBezTo>
                <a:cubicBezTo>
                  <a:pt x="7" y="126"/>
                  <a:pt x="7" y="126"/>
                  <a:pt x="7" y="127"/>
                </a:cubicBezTo>
                <a:cubicBezTo>
                  <a:pt x="8" y="127"/>
                  <a:pt x="8" y="128"/>
                  <a:pt x="9" y="128"/>
                </a:cubicBezTo>
                <a:cubicBezTo>
                  <a:pt x="9" y="129"/>
                  <a:pt x="9" y="129"/>
                  <a:pt x="10" y="130"/>
                </a:cubicBezTo>
                <a:cubicBezTo>
                  <a:pt x="10" y="130"/>
                  <a:pt x="11" y="130"/>
                  <a:pt x="11" y="131"/>
                </a:cubicBezTo>
                <a:cubicBezTo>
                  <a:pt x="11" y="131"/>
                  <a:pt x="12" y="132"/>
                  <a:pt x="13" y="133"/>
                </a:cubicBezTo>
                <a:cubicBezTo>
                  <a:pt x="13" y="133"/>
                  <a:pt x="13" y="133"/>
                  <a:pt x="14" y="134"/>
                </a:cubicBezTo>
                <a:cubicBezTo>
                  <a:pt x="14" y="134"/>
                  <a:pt x="14" y="134"/>
                  <a:pt x="14" y="134"/>
                </a:cubicBezTo>
                <a:cubicBezTo>
                  <a:pt x="15" y="135"/>
                  <a:pt x="15" y="135"/>
                  <a:pt x="15" y="135"/>
                </a:cubicBezTo>
                <a:cubicBezTo>
                  <a:pt x="16" y="135"/>
                  <a:pt x="17" y="136"/>
                  <a:pt x="17" y="137"/>
                </a:cubicBezTo>
                <a:cubicBezTo>
                  <a:pt x="18" y="137"/>
                  <a:pt x="21" y="137"/>
                  <a:pt x="21" y="137"/>
                </a:cubicBezTo>
                <a:cubicBezTo>
                  <a:pt x="22" y="137"/>
                  <a:pt x="23" y="137"/>
                  <a:pt x="24" y="137"/>
                </a:cubicBezTo>
                <a:cubicBezTo>
                  <a:pt x="24" y="136"/>
                  <a:pt x="24" y="136"/>
                  <a:pt x="25" y="136"/>
                </a:cubicBezTo>
                <a:cubicBezTo>
                  <a:pt x="25" y="136"/>
                  <a:pt x="25" y="136"/>
                  <a:pt x="25" y="136"/>
                </a:cubicBezTo>
                <a:cubicBezTo>
                  <a:pt x="26" y="137"/>
                  <a:pt x="26" y="138"/>
                  <a:pt x="26" y="139"/>
                </a:cubicBezTo>
                <a:cubicBezTo>
                  <a:pt x="26" y="140"/>
                  <a:pt x="27" y="141"/>
                  <a:pt x="27" y="142"/>
                </a:cubicBezTo>
                <a:cubicBezTo>
                  <a:pt x="27" y="143"/>
                  <a:pt x="27" y="143"/>
                  <a:pt x="27" y="143"/>
                </a:cubicBezTo>
                <a:cubicBezTo>
                  <a:pt x="27" y="143"/>
                  <a:pt x="27" y="144"/>
                  <a:pt x="27" y="144"/>
                </a:cubicBezTo>
                <a:cubicBezTo>
                  <a:pt x="27" y="144"/>
                  <a:pt x="28" y="145"/>
                  <a:pt x="28" y="145"/>
                </a:cubicBezTo>
                <a:cubicBezTo>
                  <a:pt x="28" y="145"/>
                  <a:pt x="28" y="145"/>
                  <a:pt x="28" y="146"/>
                </a:cubicBezTo>
                <a:cubicBezTo>
                  <a:pt x="28" y="146"/>
                  <a:pt x="29" y="146"/>
                  <a:pt x="29" y="147"/>
                </a:cubicBezTo>
                <a:cubicBezTo>
                  <a:pt x="29" y="147"/>
                  <a:pt x="30" y="147"/>
                  <a:pt x="30" y="148"/>
                </a:cubicBezTo>
                <a:cubicBezTo>
                  <a:pt x="31" y="149"/>
                  <a:pt x="32" y="150"/>
                  <a:pt x="33" y="152"/>
                </a:cubicBezTo>
                <a:cubicBezTo>
                  <a:pt x="33" y="152"/>
                  <a:pt x="35" y="153"/>
                  <a:pt x="35" y="153"/>
                </a:cubicBezTo>
                <a:cubicBezTo>
                  <a:pt x="36" y="154"/>
                  <a:pt x="36" y="154"/>
                  <a:pt x="36" y="155"/>
                </a:cubicBezTo>
                <a:cubicBezTo>
                  <a:pt x="37" y="155"/>
                  <a:pt x="37" y="155"/>
                  <a:pt x="38" y="155"/>
                </a:cubicBezTo>
                <a:cubicBezTo>
                  <a:pt x="39" y="156"/>
                  <a:pt x="40" y="157"/>
                  <a:pt x="41" y="158"/>
                </a:cubicBezTo>
                <a:cubicBezTo>
                  <a:pt x="45" y="159"/>
                  <a:pt x="49" y="160"/>
                  <a:pt x="53" y="161"/>
                </a:cubicBezTo>
                <a:cubicBezTo>
                  <a:pt x="55" y="161"/>
                  <a:pt x="55" y="161"/>
                  <a:pt x="55" y="161"/>
                </a:cubicBezTo>
                <a:cubicBezTo>
                  <a:pt x="57" y="162"/>
                  <a:pt x="61" y="162"/>
                  <a:pt x="64" y="161"/>
                </a:cubicBezTo>
                <a:cubicBezTo>
                  <a:pt x="64" y="161"/>
                  <a:pt x="65" y="161"/>
                  <a:pt x="65" y="161"/>
                </a:cubicBezTo>
                <a:cubicBezTo>
                  <a:pt x="66" y="161"/>
                  <a:pt x="66" y="161"/>
                  <a:pt x="67" y="160"/>
                </a:cubicBezTo>
                <a:cubicBezTo>
                  <a:pt x="68" y="160"/>
                  <a:pt x="69" y="160"/>
                  <a:pt x="70" y="160"/>
                </a:cubicBezTo>
                <a:cubicBezTo>
                  <a:pt x="71" y="160"/>
                  <a:pt x="72" y="159"/>
                  <a:pt x="73" y="159"/>
                </a:cubicBezTo>
                <a:cubicBezTo>
                  <a:pt x="74" y="159"/>
                  <a:pt x="77" y="158"/>
                  <a:pt x="78" y="157"/>
                </a:cubicBezTo>
                <a:cubicBezTo>
                  <a:pt x="78" y="157"/>
                  <a:pt x="79" y="157"/>
                  <a:pt x="79" y="157"/>
                </a:cubicBezTo>
                <a:cubicBezTo>
                  <a:pt x="80" y="157"/>
                  <a:pt x="78" y="161"/>
                  <a:pt x="78" y="162"/>
                </a:cubicBezTo>
                <a:cubicBezTo>
                  <a:pt x="78" y="162"/>
                  <a:pt x="78" y="163"/>
                  <a:pt x="78" y="163"/>
                </a:cubicBezTo>
                <a:cubicBezTo>
                  <a:pt x="78" y="164"/>
                  <a:pt x="77" y="165"/>
                  <a:pt x="77" y="166"/>
                </a:cubicBezTo>
                <a:cubicBezTo>
                  <a:pt x="77" y="166"/>
                  <a:pt x="77" y="167"/>
                  <a:pt x="77" y="167"/>
                </a:cubicBezTo>
                <a:cubicBezTo>
                  <a:pt x="77" y="168"/>
                  <a:pt x="77" y="171"/>
                  <a:pt x="77" y="172"/>
                </a:cubicBezTo>
                <a:cubicBezTo>
                  <a:pt x="77" y="173"/>
                  <a:pt x="77" y="174"/>
                  <a:pt x="77" y="176"/>
                </a:cubicBezTo>
                <a:cubicBezTo>
                  <a:pt x="77" y="177"/>
                  <a:pt x="78" y="179"/>
                  <a:pt x="78" y="179"/>
                </a:cubicBezTo>
                <a:cubicBezTo>
                  <a:pt x="79" y="179"/>
                  <a:pt x="79" y="180"/>
                  <a:pt x="79" y="180"/>
                </a:cubicBezTo>
                <a:cubicBezTo>
                  <a:pt x="80" y="180"/>
                  <a:pt x="80" y="180"/>
                  <a:pt x="80" y="180"/>
                </a:cubicBezTo>
                <a:cubicBezTo>
                  <a:pt x="80" y="181"/>
                  <a:pt x="81" y="181"/>
                  <a:pt x="81" y="181"/>
                </a:cubicBezTo>
                <a:cubicBezTo>
                  <a:pt x="82" y="181"/>
                  <a:pt x="83" y="182"/>
                  <a:pt x="84" y="182"/>
                </a:cubicBezTo>
                <a:cubicBezTo>
                  <a:pt x="85" y="181"/>
                  <a:pt x="85" y="181"/>
                  <a:pt x="86" y="181"/>
                </a:cubicBezTo>
                <a:cubicBezTo>
                  <a:pt x="87" y="181"/>
                  <a:pt x="87" y="181"/>
                  <a:pt x="88" y="181"/>
                </a:cubicBezTo>
                <a:cubicBezTo>
                  <a:pt x="88" y="181"/>
                  <a:pt x="89" y="182"/>
                  <a:pt x="90" y="181"/>
                </a:cubicBezTo>
                <a:cubicBezTo>
                  <a:pt x="91" y="181"/>
                  <a:pt x="92" y="181"/>
                  <a:pt x="93" y="180"/>
                </a:cubicBezTo>
                <a:cubicBezTo>
                  <a:pt x="94" y="180"/>
                  <a:pt x="94" y="178"/>
                  <a:pt x="94" y="176"/>
                </a:cubicBezTo>
                <a:cubicBezTo>
                  <a:pt x="95" y="174"/>
                  <a:pt x="95" y="173"/>
                  <a:pt x="95" y="171"/>
                </a:cubicBezTo>
                <a:cubicBezTo>
                  <a:pt x="95" y="170"/>
                  <a:pt x="96" y="170"/>
                  <a:pt x="96" y="169"/>
                </a:cubicBezTo>
                <a:cubicBezTo>
                  <a:pt x="96" y="169"/>
                  <a:pt x="96" y="168"/>
                  <a:pt x="97" y="167"/>
                </a:cubicBezTo>
                <a:cubicBezTo>
                  <a:pt x="97" y="167"/>
                  <a:pt x="98" y="166"/>
                  <a:pt x="98" y="166"/>
                </a:cubicBezTo>
                <a:cubicBezTo>
                  <a:pt x="98" y="165"/>
                  <a:pt x="98" y="165"/>
                  <a:pt x="98" y="165"/>
                </a:cubicBezTo>
                <a:cubicBezTo>
                  <a:pt x="99" y="164"/>
                  <a:pt x="99" y="163"/>
                  <a:pt x="99" y="163"/>
                </a:cubicBezTo>
                <a:cubicBezTo>
                  <a:pt x="100" y="163"/>
                  <a:pt x="100" y="162"/>
                  <a:pt x="100" y="162"/>
                </a:cubicBezTo>
                <a:cubicBezTo>
                  <a:pt x="101" y="162"/>
                  <a:pt x="101" y="161"/>
                  <a:pt x="101" y="161"/>
                </a:cubicBezTo>
                <a:cubicBezTo>
                  <a:pt x="101" y="161"/>
                  <a:pt x="101" y="161"/>
                  <a:pt x="102" y="161"/>
                </a:cubicBezTo>
                <a:cubicBezTo>
                  <a:pt x="102" y="160"/>
                  <a:pt x="102" y="160"/>
                  <a:pt x="102" y="160"/>
                </a:cubicBezTo>
                <a:cubicBezTo>
                  <a:pt x="103" y="159"/>
                  <a:pt x="103" y="159"/>
                  <a:pt x="104" y="158"/>
                </a:cubicBezTo>
                <a:cubicBezTo>
                  <a:pt x="104" y="158"/>
                  <a:pt x="105" y="157"/>
                  <a:pt x="106" y="156"/>
                </a:cubicBezTo>
                <a:cubicBezTo>
                  <a:pt x="106" y="155"/>
                  <a:pt x="106" y="155"/>
                  <a:pt x="106" y="154"/>
                </a:cubicBezTo>
                <a:cubicBezTo>
                  <a:pt x="107" y="152"/>
                  <a:pt x="107" y="149"/>
                  <a:pt x="108" y="147"/>
                </a:cubicBezTo>
                <a:cubicBezTo>
                  <a:pt x="109" y="146"/>
                  <a:pt x="110" y="146"/>
                  <a:pt x="110" y="145"/>
                </a:cubicBezTo>
                <a:cubicBezTo>
                  <a:pt x="111" y="145"/>
                  <a:pt x="112" y="144"/>
                  <a:pt x="112" y="143"/>
                </a:cubicBezTo>
                <a:cubicBezTo>
                  <a:pt x="113" y="143"/>
                  <a:pt x="114" y="143"/>
                  <a:pt x="114" y="142"/>
                </a:cubicBezTo>
                <a:cubicBezTo>
                  <a:pt x="114" y="142"/>
                  <a:pt x="114" y="142"/>
                  <a:pt x="114" y="141"/>
                </a:cubicBezTo>
                <a:cubicBezTo>
                  <a:pt x="115" y="141"/>
                  <a:pt x="115" y="141"/>
                  <a:pt x="116" y="140"/>
                </a:cubicBezTo>
                <a:cubicBezTo>
                  <a:pt x="116" y="140"/>
                  <a:pt x="116" y="140"/>
                  <a:pt x="116" y="139"/>
                </a:cubicBezTo>
                <a:cubicBezTo>
                  <a:pt x="116" y="139"/>
                  <a:pt x="116" y="139"/>
                  <a:pt x="117" y="138"/>
                </a:cubicBezTo>
                <a:cubicBezTo>
                  <a:pt x="117" y="137"/>
                  <a:pt x="117" y="137"/>
                  <a:pt x="118" y="136"/>
                </a:cubicBezTo>
                <a:cubicBezTo>
                  <a:pt x="118" y="135"/>
                  <a:pt x="118" y="135"/>
                  <a:pt x="119" y="135"/>
                </a:cubicBezTo>
                <a:cubicBezTo>
                  <a:pt x="119" y="134"/>
                  <a:pt x="119" y="134"/>
                  <a:pt x="119" y="133"/>
                </a:cubicBezTo>
                <a:cubicBezTo>
                  <a:pt x="119" y="133"/>
                  <a:pt x="119" y="133"/>
                  <a:pt x="119" y="132"/>
                </a:cubicBezTo>
                <a:cubicBezTo>
                  <a:pt x="120" y="132"/>
                  <a:pt x="122" y="133"/>
                  <a:pt x="123" y="133"/>
                </a:cubicBezTo>
                <a:cubicBezTo>
                  <a:pt x="124" y="133"/>
                  <a:pt x="124" y="133"/>
                  <a:pt x="125" y="133"/>
                </a:cubicBezTo>
                <a:cubicBezTo>
                  <a:pt x="125" y="133"/>
                  <a:pt x="126" y="133"/>
                  <a:pt x="126" y="133"/>
                </a:cubicBezTo>
                <a:cubicBezTo>
                  <a:pt x="127" y="133"/>
                  <a:pt x="128" y="133"/>
                  <a:pt x="129" y="134"/>
                </a:cubicBezTo>
                <a:cubicBezTo>
                  <a:pt x="129" y="134"/>
                  <a:pt x="132" y="134"/>
                  <a:pt x="133" y="134"/>
                </a:cubicBezTo>
                <a:cubicBezTo>
                  <a:pt x="133" y="134"/>
                  <a:pt x="135" y="134"/>
                  <a:pt x="136" y="134"/>
                </a:cubicBezTo>
                <a:cubicBezTo>
                  <a:pt x="137" y="134"/>
                  <a:pt x="138" y="134"/>
                  <a:pt x="138" y="134"/>
                </a:cubicBezTo>
                <a:cubicBezTo>
                  <a:pt x="140" y="134"/>
                  <a:pt x="141" y="134"/>
                  <a:pt x="142" y="134"/>
                </a:cubicBezTo>
                <a:cubicBezTo>
                  <a:pt x="143" y="134"/>
                  <a:pt x="144" y="134"/>
                  <a:pt x="145" y="134"/>
                </a:cubicBezTo>
                <a:cubicBezTo>
                  <a:pt x="145" y="134"/>
                  <a:pt x="146" y="134"/>
                  <a:pt x="147" y="134"/>
                </a:cubicBezTo>
                <a:cubicBezTo>
                  <a:pt x="147" y="134"/>
                  <a:pt x="147" y="134"/>
                  <a:pt x="148" y="134"/>
                </a:cubicBezTo>
                <a:cubicBezTo>
                  <a:pt x="148" y="134"/>
                  <a:pt x="149" y="134"/>
                  <a:pt x="150" y="134"/>
                </a:cubicBezTo>
                <a:cubicBezTo>
                  <a:pt x="151" y="134"/>
                  <a:pt x="152" y="134"/>
                  <a:pt x="153" y="134"/>
                </a:cubicBezTo>
                <a:cubicBezTo>
                  <a:pt x="154" y="134"/>
                  <a:pt x="155" y="133"/>
                  <a:pt x="155" y="133"/>
                </a:cubicBezTo>
                <a:cubicBezTo>
                  <a:pt x="156" y="133"/>
                  <a:pt x="156" y="133"/>
                  <a:pt x="156" y="133"/>
                </a:cubicBezTo>
                <a:cubicBezTo>
                  <a:pt x="157" y="133"/>
                  <a:pt x="158" y="133"/>
                  <a:pt x="158" y="133"/>
                </a:cubicBezTo>
                <a:cubicBezTo>
                  <a:pt x="160" y="132"/>
                  <a:pt x="162" y="131"/>
                  <a:pt x="163" y="130"/>
                </a:cubicBezTo>
                <a:cubicBezTo>
                  <a:pt x="164" y="130"/>
                  <a:pt x="164" y="130"/>
                  <a:pt x="165" y="130"/>
                </a:cubicBezTo>
                <a:cubicBezTo>
                  <a:pt x="165" y="129"/>
                  <a:pt x="165" y="129"/>
                  <a:pt x="166" y="128"/>
                </a:cubicBezTo>
                <a:cubicBezTo>
                  <a:pt x="166" y="128"/>
                  <a:pt x="166" y="128"/>
                  <a:pt x="167" y="128"/>
                </a:cubicBezTo>
                <a:cubicBezTo>
                  <a:pt x="167" y="127"/>
                  <a:pt x="168" y="126"/>
                  <a:pt x="168" y="125"/>
                </a:cubicBezTo>
                <a:cubicBezTo>
                  <a:pt x="169" y="125"/>
                  <a:pt x="169" y="125"/>
                  <a:pt x="170" y="124"/>
                </a:cubicBezTo>
                <a:cubicBezTo>
                  <a:pt x="170" y="123"/>
                  <a:pt x="171" y="122"/>
                  <a:pt x="172" y="121"/>
                </a:cubicBezTo>
                <a:cubicBezTo>
                  <a:pt x="172" y="120"/>
                  <a:pt x="173" y="119"/>
                  <a:pt x="173" y="118"/>
                </a:cubicBezTo>
                <a:cubicBezTo>
                  <a:pt x="173" y="118"/>
                  <a:pt x="174" y="117"/>
                  <a:pt x="174" y="116"/>
                </a:cubicBezTo>
                <a:cubicBezTo>
                  <a:pt x="174" y="115"/>
                  <a:pt x="175" y="114"/>
                  <a:pt x="175" y="113"/>
                </a:cubicBezTo>
                <a:cubicBezTo>
                  <a:pt x="175" y="113"/>
                  <a:pt x="175" y="112"/>
                  <a:pt x="175" y="112"/>
                </a:cubicBezTo>
                <a:cubicBezTo>
                  <a:pt x="175" y="111"/>
                  <a:pt x="175" y="111"/>
                  <a:pt x="175" y="110"/>
                </a:cubicBezTo>
                <a:cubicBezTo>
                  <a:pt x="175" y="109"/>
                  <a:pt x="175" y="109"/>
                  <a:pt x="175" y="108"/>
                </a:cubicBezTo>
                <a:cubicBezTo>
                  <a:pt x="175" y="108"/>
                  <a:pt x="176" y="108"/>
                  <a:pt x="176" y="108"/>
                </a:cubicBezTo>
                <a:cubicBezTo>
                  <a:pt x="178" y="108"/>
                  <a:pt x="178" y="108"/>
                  <a:pt x="178" y="108"/>
                </a:cubicBezTo>
                <a:cubicBezTo>
                  <a:pt x="180" y="107"/>
                  <a:pt x="183" y="107"/>
                  <a:pt x="185" y="106"/>
                </a:cubicBezTo>
                <a:cubicBezTo>
                  <a:pt x="186" y="106"/>
                  <a:pt x="187" y="105"/>
                  <a:pt x="188" y="105"/>
                </a:cubicBezTo>
                <a:cubicBezTo>
                  <a:pt x="189" y="105"/>
                  <a:pt x="189" y="104"/>
                  <a:pt x="189" y="104"/>
                </a:cubicBezTo>
                <a:cubicBezTo>
                  <a:pt x="190" y="104"/>
                  <a:pt x="191" y="104"/>
                  <a:pt x="191" y="103"/>
                </a:cubicBezTo>
                <a:cubicBezTo>
                  <a:pt x="192" y="103"/>
                  <a:pt x="192" y="103"/>
                  <a:pt x="192" y="103"/>
                </a:cubicBezTo>
                <a:cubicBezTo>
                  <a:pt x="193" y="103"/>
                  <a:pt x="193" y="102"/>
                  <a:pt x="193" y="102"/>
                </a:cubicBezTo>
                <a:cubicBezTo>
                  <a:pt x="194" y="102"/>
                  <a:pt x="194" y="101"/>
                  <a:pt x="194" y="101"/>
                </a:cubicBezTo>
                <a:cubicBezTo>
                  <a:pt x="195" y="101"/>
                  <a:pt x="195" y="100"/>
                  <a:pt x="195" y="100"/>
                </a:cubicBezTo>
                <a:cubicBezTo>
                  <a:pt x="196" y="100"/>
                  <a:pt x="197" y="99"/>
                  <a:pt x="197" y="99"/>
                </a:cubicBezTo>
                <a:cubicBezTo>
                  <a:pt x="198" y="98"/>
                  <a:pt x="198" y="97"/>
                  <a:pt x="199" y="96"/>
                </a:cubicBezTo>
                <a:cubicBezTo>
                  <a:pt x="200" y="95"/>
                  <a:pt x="200" y="95"/>
                  <a:pt x="201" y="95"/>
                </a:cubicBezTo>
                <a:cubicBezTo>
                  <a:pt x="202" y="94"/>
                  <a:pt x="202" y="93"/>
                  <a:pt x="202" y="93"/>
                </a:cubicBezTo>
                <a:cubicBezTo>
                  <a:pt x="203" y="93"/>
                  <a:pt x="203" y="92"/>
                  <a:pt x="203" y="92"/>
                </a:cubicBezTo>
                <a:cubicBezTo>
                  <a:pt x="204" y="92"/>
                  <a:pt x="204" y="91"/>
                  <a:pt x="204" y="91"/>
                </a:cubicBezTo>
                <a:cubicBezTo>
                  <a:pt x="204" y="90"/>
                  <a:pt x="205" y="90"/>
                  <a:pt x="205" y="89"/>
                </a:cubicBezTo>
                <a:cubicBezTo>
                  <a:pt x="205" y="89"/>
                  <a:pt x="205" y="88"/>
                  <a:pt x="205" y="88"/>
                </a:cubicBezTo>
                <a:cubicBezTo>
                  <a:pt x="206" y="87"/>
                  <a:pt x="206" y="88"/>
                  <a:pt x="207" y="87"/>
                </a:cubicBezTo>
                <a:cubicBezTo>
                  <a:pt x="207" y="87"/>
                  <a:pt x="208" y="86"/>
                  <a:pt x="209" y="86"/>
                </a:cubicBezTo>
                <a:cubicBezTo>
                  <a:pt x="210" y="84"/>
                  <a:pt x="211" y="82"/>
                  <a:pt x="211" y="80"/>
                </a:cubicBezTo>
                <a:cubicBezTo>
                  <a:pt x="211" y="80"/>
                  <a:pt x="211" y="80"/>
                  <a:pt x="211" y="79"/>
                </a:cubicBezTo>
                <a:cubicBezTo>
                  <a:pt x="212" y="78"/>
                  <a:pt x="212" y="77"/>
                  <a:pt x="213" y="76"/>
                </a:cubicBezTo>
                <a:cubicBezTo>
                  <a:pt x="213" y="76"/>
                  <a:pt x="213" y="75"/>
                  <a:pt x="213" y="74"/>
                </a:cubicBezTo>
                <a:cubicBezTo>
                  <a:pt x="213" y="74"/>
                  <a:pt x="213" y="72"/>
                  <a:pt x="213" y="70"/>
                </a:cubicBezTo>
                <a:cubicBezTo>
                  <a:pt x="213" y="70"/>
                  <a:pt x="212" y="70"/>
                  <a:pt x="212" y="69"/>
                </a:cubicBezTo>
                <a:cubicBezTo>
                  <a:pt x="212" y="69"/>
                  <a:pt x="212" y="68"/>
                  <a:pt x="212" y="68"/>
                </a:cubicBezTo>
                <a:cubicBezTo>
                  <a:pt x="212" y="68"/>
                  <a:pt x="211" y="67"/>
                  <a:pt x="211" y="66"/>
                </a:cubicBezTo>
                <a:cubicBezTo>
                  <a:pt x="211" y="66"/>
                  <a:pt x="212" y="66"/>
                  <a:pt x="212" y="65"/>
                </a:cubicBezTo>
                <a:cubicBezTo>
                  <a:pt x="212" y="65"/>
                  <a:pt x="212" y="64"/>
                  <a:pt x="212" y="64"/>
                </a:cubicBezTo>
                <a:cubicBezTo>
                  <a:pt x="212" y="64"/>
                  <a:pt x="213" y="64"/>
                  <a:pt x="213" y="64"/>
                </a:cubicBezTo>
                <a:cubicBezTo>
                  <a:pt x="213" y="63"/>
                  <a:pt x="213" y="62"/>
                  <a:pt x="213" y="62"/>
                </a:cubicBezTo>
                <a:cubicBezTo>
                  <a:pt x="213" y="62"/>
                  <a:pt x="213" y="61"/>
                  <a:pt x="213" y="61"/>
                </a:cubicBezTo>
                <a:close/>
                <a:moveTo>
                  <a:pt x="152" y="9"/>
                </a:moveTo>
                <a:cubicBezTo>
                  <a:pt x="152" y="9"/>
                  <a:pt x="152" y="9"/>
                  <a:pt x="152" y="9"/>
                </a:cubicBezTo>
                <a:cubicBezTo>
                  <a:pt x="152" y="9"/>
                  <a:pt x="152" y="9"/>
                  <a:pt x="153" y="10"/>
                </a:cubicBezTo>
                <a:cubicBezTo>
                  <a:pt x="154" y="10"/>
                  <a:pt x="154" y="10"/>
                  <a:pt x="155" y="10"/>
                </a:cubicBezTo>
                <a:cubicBezTo>
                  <a:pt x="157" y="10"/>
                  <a:pt x="158" y="11"/>
                  <a:pt x="160" y="12"/>
                </a:cubicBezTo>
                <a:cubicBezTo>
                  <a:pt x="161" y="12"/>
                  <a:pt x="162" y="12"/>
                  <a:pt x="162" y="12"/>
                </a:cubicBezTo>
                <a:cubicBezTo>
                  <a:pt x="163" y="13"/>
                  <a:pt x="163" y="13"/>
                  <a:pt x="163" y="13"/>
                </a:cubicBezTo>
                <a:cubicBezTo>
                  <a:pt x="163" y="13"/>
                  <a:pt x="163" y="14"/>
                  <a:pt x="164" y="14"/>
                </a:cubicBezTo>
                <a:cubicBezTo>
                  <a:pt x="164" y="14"/>
                  <a:pt x="164" y="14"/>
                  <a:pt x="164" y="14"/>
                </a:cubicBezTo>
                <a:cubicBezTo>
                  <a:pt x="165" y="14"/>
                  <a:pt x="165" y="15"/>
                  <a:pt x="165" y="15"/>
                </a:cubicBezTo>
                <a:cubicBezTo>
                  <a:pt x="165" y="15"/>
                  <a:pt x="166" y="15"/>
                  <a:pt x="166" y="15"/>
                </a:cubicBezTo>
                <a:cubicBezTo>
                  <a:pt x="166" y="15"/>
                  <a:pt x="166" y="15"/>
                  <a:pt x="166" y="15"/>
                </a:cubicBezTo>
                <a:cubicBezTo>
                  <a:pt x="167" y="16"/>
                  <a:pt x="168" y="15"/>
                  <a:pt x="168" y="15"/>
                </a:cubicBezTo>
                <a:cubicBezTo>
                  <a:pt x="168" y="15"/>
                  <a:pt x="169" y="16"/>
                  <a:pt x="169" y="16"/>
                </a:cubicBezTo>
                <a:cubicBezTo>
                  <a:pt x="169" y="16"/>
                  <a:pt x="169" y="15"/>
                  <a:pt x="170" y="15"/>
                </a:cubicBezTo>
                <a:cubicBezTo>
                  <a:pt x="170" y="16"/>
                  <a:pt x="170" y="16"/>
                  <a:pt x="170" y="16"/>
                </a:cubicBezTo>
                <a:cubicBezTo>
                  <a:pt x="171" y="16"/>
                  <a:pt x="172" y="16"/>
                  <a:pt x="173" y="17"/>
                </a:cubicBezTo>
                <a:cubicBezTo>
                  <a:pt x="174" y="17"/>
                  <a:pt x="174" y="18"/>
                  <a:pt x="175" y="18"/>
                </a:cubicBezTo>
                <a:cubicBezTo>
                  <a:pt x="175" y="18"/>
                  <a:pt x="176" y="19"/>
                  <a:pt x="176" y="19"/>
                </a:cubicBezTo>
                <a:cubicBezTo>
                  <a:pt x="176" y="19"/>
                  <a:pt x="176" y="20"/>
                  <a:pt x="176" y="20"/>
                </a:cubicBezTo>
                <a:cubicBezTo>
                  <a:pt x="177" y="20"/>
                  <a:pt x="177" y="20"/>
                  <a:pt x="177" y="20"/>
                </a:cubicBezTo>
                <a:cubicBezTo>
                  <a:pt x="177" y="21"/>
                  <a:pt x="177" y="21"/>
                  <a:pt x="177" y="21"/>
                </a:cubicBezTo>
                <a:cubicBezTo>
                  <a:pt x="178" y="21"/>
                  <a:pt x="178" y="21"/>
                  <a:pt x="178" y="22"/>
                </a:cubicBezTo>
                <a:cubicBezTo>
                  <a:pt x="179" y="22"/>
                  <a:pt x="179" y="22"/>
                  <a:pt x="179" y="23"/>
                </a:cubicBezTo>
                <a:cubicBezTo>
                  <a:pt x="179" y="23"/>
                  <a:pt x="180" y="23"/>
                  <a:pt x="180" y="23"/>
                </a:cubicBezTo>
                <a:cubicBezTo>
                  <a:pt x="181" y="24"/>
                  <a:pt x="181" y="25"/>
                  <a:pt x="181" y="25"/>
                </a:cubicBezTo>
                <a:cubicBezTo>
                  <a:pt x="182" y="26"/>
                  <a:pt x="180" y="28"/>
                  <a:pt x="181" y="29"/>
                </a:cubicBezTo>
                <a:cubicBezTo>
                  <a:pt x="181" y="29"/>
                  <a:pt x="182" y="30"/>
                  <a:pt x="183" y="30"/>
                </a:cubicBezTo>
                <a:cubicBezTo>
                  <a:pt x="184" y="29"/>
                  <a:pt x="184" y="27"/>
                  <a:pt x="185" y="26"/>
                </a:cubicBezTo>
                <a:cubicBezTo>
                  <a:pt x="187" y="27"/>
                  <a:pt x="188" y="28"/>
                  <a:pt x="188" y="29"/>
                </a:cubicBezTo>
                <a:cubicBezTo>
                  <a:pt x="189" y="29"/>
                  <a:pt x="190" y="30"/>
                  <a:pt x="190" y="30"/>
                </a:cubicBezTo>
                <a:cubicBezTo>
                  <a:pt x="191" y="31"/>
                  <a:pt x="191" y="31"/>
                  <a:pt x="191" y="31"/>
                </a:cubicBezTo>
                <a:cubicBezTo>
                  <a:pt x="191" y="32"/>
                  <a:pt x="190" y="33"/>
                  <a:pt x="190" y="34"/>
                </a:cubicBezTo>
                <a:cubicBezTo>
                  <a:pt x="190" y="34"/>
                  <a:pt x="189" y="33"/>
                  <a:pt x="188" y="33"/>
                </a:cubicBezTo>
                <a:cubicBezTo>
                  <a:pt x="188" y="33"/>
                  <a:pt x="188" y="34"/>
                  <a:pt x="188" y="34"/>
                </a:cubicBezTo>
                <a:cubicBezTo>
                  <a:pt x="187" y="34"/>
                  <a:pt x="187" y="33"/>
                  <a:pt x="187" y="33"/>
                </a:cubicBezTo>
                <a:cubicBezTo>
                  <a:pt x="186" y="33"/>
                  <a:pt x="186" y="33"/>
                  <a:pt x="185" y="33"/>
                </a:cubicBezTo>
                <a:cubicBezTo>
                  <a:pt x="185" y="33"/>
                  <a:pt x="185" y="33"/>
                  <a:pt x="184" y="33"/>
                </a:cubicBezTo>
                <a:cubicBezTo>
                  <a:pt x="184" y="33"/>
                  <a:pt x="183" y="33"/>
                  <a:pt x="183" y="33"/>
                </a:cubicBezTo>
                <a:cubicBezTo>
                  <a:pt x="182" y="32"/>
                  <a:pt x="182" y="31"/>
                  <a:pt x="181" y="31"/>
                </a:cubicBezTo>
                <a:cubicBezTo>
                  <a:pt x="181" y="30"/>
                  <a:pt x="181" y="29"/>
                  <a:pt x="180" y="29"/>
                </a:cubicBezTo>
                <a:cubicBezTo>
                  <a:pt x="180" y="29"/>
                  <a:pt x="180" y="28"/>
                  <a:pt x="180" y="28"/>
                </a:cubicBezTo>
                <a:cubicBezTo>
                  <a:pt x="179" y="27"/>
                  <a:pt x="179" y="27"/>
                  <a:pt x="178" y="26"/>
                </a:cubicBezTo>
                <a:cubicBezTo>
                  <a:pt x="178" y="25"/>
                  <a:pt x="177" y="25"/>
                  <a:pt x="176" y="24"/>
                </a:cubicBezTo>
                <a:cubicBezTo>
                  <a:pt x="176" y="23"/>
                  <a:pt x="176" y="21"/>
                  <a:pt x="176" y="21"/>
                </a:cubicBezTo>
                <a:cubicBezTo>
                  <a:pt x="175" y="20"/>
                  <a:pt x="175" y="20"/>
                  <a:pt x="174" y="20"/>
                </a:cubicBezTo>
                <a:cubicBezTo>
                  <a:pt x="174" y="20"/>
                  <a:pt x="174" y="19"/>
                  <a:pt x="174" y="19"/>
                </a:cubicBezTo>
                <a:cubicBezTo>
                  <a:pt x="174" y="19"/>
                  <a:pt x="173" y="19"/>
                  <a:pt x="173" y="19"/>
                </a:cubicBezTo>
                <a:cubicBezTo>
                  <a:pt x="171" y="18"/>
                  <a:pt x="170" y="18"/>
                  <a:pt x="168" y="17"/>
                </a:cubicBezTo>
                <a:cubicBezTo>
                  <a:pt x="166" y="17"/>
                  <a:pt x="166" y="17"/>
                  <a:pt x="166" y="17"/>
                </a:cubicBezTo>
                <a:cubicBezTo>
                  <a:pt x="165" y="17"/>
                  <a:pt x="164" y="17"/>
                  <a:pt x="163" y="17"/>
                </a:cubicBezTo>
                <a:cubicBezTo>
                  <a:pt x="163" y="17"/>
                  <a:pt x="162" y="17"/>
                  <a:pt x="162" y="17"/>
                </a:cubicBezTo>
                <a:cubicBezTo>
                  <a:pt x="161" y="17"/>
                  <a:pt x="160" y="16"/>
                  <a:pt x="159" y="15"/>
                </a:cubicBezTo>
                <a:cubicBezTo>
                  <a:pt x="159" y="15"/>
                  <a:pt x="158" y="15"/>
                  <a:pt x="158" y="15"/>
                </a:cubicBezTo>
                <a:cubicBezTo>
                  <a:pt x="157" y="14"/>
                  <a:pt x="157" y="14"/>
                  <a:pt x="156" y="14"/>
                </a:cubicBezTo>
                <a:cubicBezTo>
                  <a:pt x="156" y="13"/>
                  <a:pt x="156" y="14"/>
                  <a:pt x="156" y="13"/>
                </a:cubicBezTo>
                <a:cubicBezTo>
                  <a:pt x="155" y="13"/>
                  <a:pt x="155" y="12"/>
                  <a:pt x="155" y="12"/>
                </a:cubicBezTo>
                <a:cubicBezTo>
                  <a:pt x="154" y="11"/>
                  <a:pt x="153" y="11"/>
                  <a:pt x="153" y="10"/>
                </a:cubicBezTo>
                <a:cubicBezTo>
                  <a:pt x="152" y="10"/>
                  <a:pt x="152" y="10"/>
                  <a:pt x="151" y="10"/>
                </a:cubicBezTo>
                <a:cubicBezTo>
                  <a:pt x="151" y="9"/>
                  <a:pt x="152" y="9"/>
                  <a:pt x="152" y="9"/>
                </a:cubicBezTo>
                <a:close/>
                <a:moveTo>
                  <a:pt x="150" y="9"/>
                </a:moveTo>
                <a:cubicBezTo>
                  <a:pt x="150" y="9"/>
                  <a:pt x="150" y="9"/>
                  <a:pt x="150" y="9"/>
                </a:cubicBezTo>
                <a:cubicBezTo>
                  <a:pt x="150" y="9"/>
                  <a:pt x="150" y="9"/>
                  <a:pt x="150" y="9"/>
                </a:cubicBezTo>
                <a:cubicBezTo>
                  <a:pt x="150" y="9"/>
                  <a:pt x="150" y="9"/>
                  <a:pt x="150" y="9"/>
                </a:cubicBezTo>
                <a:cubicBezTo>
                  <a:pt x="150" y="9"/>
                  <a:pt x="150" y="9"/>
                  <a:pt x="150" y="9"/>
                </a:cubicBezTo>
                <a:close/>
                <a:moveTo>
                  <a:pt x="128" y="6"/>
                </a:moveTo>
                <a:cubicBezTo>
                  <a:pt x="128" y="6"/>
                  <a:pt x="128" y="6"/>
                  <a:pt x="128" y="6"/>
                </a:cubicBezTo>
                <a:cubicBezTo>
                  <a:pt x="129" y="6"/>
                  <a:pt x="130" y="6"/>
                  <a:pt x="131" y="6"/>
                </a:cubicBezTo>
                <a:cubicBezTo>
                  <a:pt x="132" y="6"/>
                  <a:pt x="132" y="6"/>
                  <a:pt x="133" y="6"/>
                </a:cubicBezTo>
                <a:cubicBezTo>
                  <a:pt x="135" y="6"/>
                  <a:pt x="136" y="7"/>
                  <a:pt x="138" y="8"/>
                </a:cubicBezTo>
                <a:cubicBezTo>
                  <a:pt x="139" y="8"/>
                  <a:pt x="139" y="8"/>
                  <a:pt x="140" y="8"/>
                </a:cubicBezTo>
                <a:cubicBezTo>
                  <a:pt x="141" y="9"/>
                  <a:pt x="141" y="9"/>
                  <a:pt x="141" y="9"/>
                </a:cubicBezTo>
                <a:cubicBezTo>
                  <a:pt x="142" y="9"/>
                  <a:pt x="142" y="9"/>
                  <a:pt x="142" y="9"/>
                </a:cubicBezTo>
                <a:cubicBezTo>
                  <a:pt x="142" y="9"/>
                  <a:pt x="143" y="10"/>
                  <a:pt x="143" y="10"/>
                </a:cubicBezTo>
                <a:cubicBezTo>
                  <a:pt x="143" y="10"/>
                  <a:pt x="144" y="10"/>
                  <a:pt x="144" y="10"/>
                </a:cubicBezTo>
                <a:cubicBezTo>
                  <a:pt x="145" y="11"/>
                  <a:pt x="145" y="11"/>
                  <a:pt x="146" y="11"/>
                </a:cubicBezTo>
                <a:cubicBezTo>
                  <a:pt x="146" y="12"/>
                  <a:pt x="146" y="12"/>
                  <a:pt x="145" y="12"/>
                </a:cubicBezTo>
                <a:cubicBezTo>
                  <a:pt x="145" y="12"/>
                  <a:pt x="144" y="11"/>
                  <a:pt x="143" y="12"/>
                </a:cubicBezTo>
                <a:cubicBezTo>
                  <a:pt x="142" y="12"/>
                  <a:pt x="141" y="12"/>
                  <a:pt x="141" y="12"/>
                </a:cubicBezTo>
                <a:cubicBezTo>
                  <a:pt x="141" y="12"/>
                  <a:pt x="140" y="11"/>
                  <a:pt x="140" y="11"/>
                </a:cubicBezTo>
                <a:cubicBezTo>
                  <a:pt x="140" y="11"/>
                  <a:pt x="139" y="11"/>
                  <a:pt x="139" y="11"/>
                </a:cubicBezTo>
                <a:cubicBezTo>
                  <a:pt x="137" y="11"/>
                  <a:pt x="136" y="10"/>
                  <a:pt x="135" y="10"/>
                </a:cubicBezTo>
                <a:cubicBezTo>
                  <a:pt x="134" y="10"/>
                  <a:pt x="133" y="10"/>
                  <a:pt x="133" y="10"/>
                </a:cubicBezTo>
                <a:cubicBezTo>
                  <a:pt x="132" y="10"/>
                  <a:pt x="131" y="10"/>
                  <a:pt x="131" y="10"/>
                </a:cubicBezTo>
                <a:cubicBezTo>
                  <a:pt x="130" y="10"/>
                  <a:pt x="130" y="10"/>
                  <a:pt x="130" y="10"/>
                </a:cubicBezTo>
                <a:cubicBezTo>
                  <a:pt x="129" y="10"/>
                  <a:pt x="129" y="10"/>
                  <a:pt x="128" y="9"/>
                </a:cubicBezTo>
                <a:cubicBezTo>
                  <a:pt x="128" y="9"/>
                  <a:pt x="127" y="10"/>
                  <a:pt x="127" y="9"/>
                </a:cubicBezTo>
                <a:cubicBezTo>
                  <a:pt x="127" y="9"/>
                  <a:pt x="127" y="8"/>
                  <a:pt x="127" y="8"/>
                </a:cubicBezTo>
                <a:cubicBezTo>
                  <a:pt x="127" y="7"/>
                  <a:pt x="127" y="7"/>
                  <a:pt x="127" y="7"/>
                </a:cubicBezTo>
                <a:cubicBezTo>
                  <a:pt x="127" y="6"/>
                  <a:pt x="127" y="6"/>
                  <a:pt x="128" y="6"/>
                </a:cubicBezTo>
                <a:close/>
                <a:moveTo>
                  <a:pt x="43" y="56"/>
                </a:moveTo>
                <a:cubicBezTo>
                  <a:pt x="43" y="56"/>
                  <a:pt x="43" y="56"/>
                  <a:pt x="43" y="57"/>
                </a:cubicBezTo>
                <a:cubicBezTo>
                  <a:pt x="43" y="58"/>
                  <a:pt x="44" y="59"/>
                  <a:pt x="45" y="60"/>
                </a:cubicBezTo>
                <a:cubicBezTo>
                  <a:pt x="45" y="60"/>
                  <a:pt x="45" y="60"/>
                  <a:pt x="44" y="60"/>
                </a:cubicBezTo>
                <a:cubicBezTo>
                  <a:pt x="44" y="60"/>
                  <a:pt x="44" y="60"/>
                  <a:pt x="43" y="60"/>
                </a:cubicBezTo>
                <a:cubicBezTo>
                  <a:pt x="43" y="60"/>
                  <a:pt x="42" y="60"/>
                  <a:pt x="42" y="60"/>
                </a:cubicBezTo>
                <a:cubicBezTo>
                  <a:pt x="40" y="60"/>
                  <a:pt x="40" y="60"/>
                  <a:pt x="40" y="60"/>
                </a:cubicBezTo>
                <a:cubicBezTo>
                  <a:pt x="40" y="61"/>
                  <a:pt x="39" y="61"/>
                  <a:pt x="38" y="61"/>
                </a:cubicBezTo>
                <a:cubicBezTo>
                  <a:pt x="38" y="62"/>
                  <a:pt x="37" y="62"/>
                  <a:pt x="37" y="62"/>
                </a:cubicBezTo>
                <a:cubicBezTo>
                  <a:pt x="36" y="62"/>
                  <a:pt x="35" y="63"/>
                  <a:pt x="34" y="63"/>
                </a:cubicBezTo>
                <a:cubicBezTo>
                  <a:pt x="34" y="63"/>
                  <a:pt x="34" y="63"/>
                  <a:pt x="34" y="63"/>
                </a:cubicBezTo>
                <a:cubicBezTo>
                  <a:pt x="33" y="62"/>
                  <a:pt x="34" y="60"/>
                  <a:pt x="33" y="58"/>
                </a:cubicBezTo>
                <a:cubicBezTo>
                  <a:pt x="33" y="57"/>
                  <a:pt x="34" y="57"/>
                  <a:pt x="35" y="57"/>
                </a:cubicBezTo>
                <a:cubicBezTo>
                  <a:pt x="36" y="56"/>
                  <a:pt x="38" y="55"/>
                  <a:pt x="39" y="54"/>
                </a:cubicBezTo>
                <a:cubicBezTo>
                  <a:pt x="39" y="54"/>
                  <a:pt x="39" y="53"/>
                  <a:pt x="39" y="53"/>
                </a:cubicBezTo>
                <a:cubicBezTo>
                  <a:pt x="40" y="53"/>
                  <a:pt x="40" y="53"/>
                  <a:pt x="40" y="52"/>
                </a:cubicBezTo>
                <a:cubicBezTo>
                  <a:pt x="41" y="52"/>
                  <a:pt x="41" y="52"/>
                  <a:pt x="41" y="52"/>
                </a:cubicBezTo>
                <a:cubicBezTo>
                  <a:pt x="42" y="53"/>
                  <a:pt x="42" y="54"/>
                  <a:pt x="43" y="56"/>
                </a:cubicBezTo>
                <a:close/>
                <a:moveTo>
                  <a:pt x="21" y="63"/>
                </a:moveTo>
                <a:cubicBezTo>
                  <a:pt x="21" y="62"/>
                  <a:pt x="21" y="62"/>
                  <a:pt x="21" y="61"/>
                </a:cubicBezTo>
                <a:cubicBezTo>
                  <a:pt x="21" y="61"/>
                  <a:pt x="21" y="60"/>
                  <a:pt x="21" y="60"/>
                </a:cubicBezTo>
                <a:cubicBezTo>
                  <a:pt x="22" y="60"/>
                  <a:pt x="22" y="59"/>
                  <a:pt x="22" y="59"/>
                </a:cubicBezTo>
                <a:cubicBezTo>
                  <a:pt x="22" y="58"/>
                  <a:pt x="22" y="58"/>
                  <a:pt x="23" y="57"/>
                </a:cubicBezTo>
                <a:cubicBezTo>
                  <a:pt x="23" y="56"/>
                  <a:pt x="24" y="54"/>
                  <a:pt x="24" y="53"/>
                </a:cubicBezTo>
                <a:cubicBezTo>
                  <a:pt x="25" y="52"/>
                  <a:pt x="26" y="51"/>
                  <a:pt x="27" y="49"/>
                </a:cubicBezTo>
                <a:cubicBezTo>
                  <a:pt x="27" y="49"/>
                  <a:pt x="28" y="48"/>
                  <a:pt x="28" y="48"/>
                </a:cubicBezTo>
                <a:cubicBezTo>
                  <a:pt x="29" y="47"/>
                  <a:pt x="29" y="47"/>
                  <a:pt x="29" y="47"/>
                </a:cubicBezTo>
                <a:cubicBezTo>
                  <a:pt x="29" y="46"/>
                  <a:pt x="30" y="46"/>
                  <a:pt x="30" y="46"/>
                </a:cubicBezTo>
                <a:cubicBezTo>
                  <a:pt x="30" y="45"/>
                  <a:pt x="30" y="45"/>
                  <a:pt x="31" y="45"/>
                </a:cubicBezTo>
                <a:cubicBezTo>
                  <a:pt x="31" y="45"/>
                  <a:pt x="31" y="44"/>
                  <a:pt x="32" y="44"/>
                </a:cubicBezTo>
                <a:cubicBezTo>
                  <a:pt x="33" y="43"/>
                  <a:pt x="34" y="42"/>
                  <a:pt x="35" y="41"/>
                </a:cubicBezTo>
                <a:cubicBezTo>
                  <a:pt x="35" y="41"/>
                  <a:pt x="36" y="42"/>
                  <a:pt x="37" y="42"/>
                </a:cubicBezTo>
                <a:cubicBezTo>
                  <a:pt x="38" y="42"/>
                  <a:pt x="39" y="42"/>
                  <a:pt x="39" y="41"/>
                </a:cubicBezTo>
                <a:cubicBezTo>
                  <a:pt x="40" y="41"/>
                  <a:pt x="40" y="41"/>
                  <a:pt x="41" y="42"/>
                </a:cubicBezTo>
                <a:cubicBezTo>
                  <a:pt x="41" y="42"/>
                  <a:pt x="41" y="42"/>
                  <a:pt x="41" y="42"/>
                </a:cubicBezTo>
                <a:cubicBezTo>
                  <a:pt x="40" y="43"/>
                  <a:pt x="39" y="43"/>
                  <a:pt x="39" y="44"/>
                </a:cubicBezTo>
                <a:cubicBezTo>
                  <a:pt x="38" y="44"/>
                  <a:pt x="38" y="45"/>
                  <a:pt x="38" y="45"/>
                </a:cubicBezTo>
                <a:cubicBezTo>
                  <a:pt x="38" y="46"/>
                  <a:pt x="38" y="46"/>
                  <a:pt x="37" y="46"/>
                </a:cubicBezTo>
                <a:cubicBezTo>
                  <a:pt x="37" y="47"/>
                  <a:pt x="37" y="47"/>
                  <a:pt x="37" y="48"/>
                </a:cubicBezTo>
                <a:cubicBezTo>
                  <a:pt x="37" y="48"/>
                  <a:pt x="37" y="48"/>
                  <a:pt x="37" y="49"/>
                </a:cubicBezTo>
                <a:cubicBezTo>
                  <a:pt x="37" y="49"/>
                  <a:pt x="36" y="49"/>
                  <a:pt x="36" y="50"/>
                </a:cubicBezTo>
                <a:cubicBezTo>
                  <a:pt x="36" y="50"/>
                  <a:pt x="36" y="51"/>
                  <a:pt x="35" y="51"/>
                </a:cubicBezTo>
                <a:cubicBezTo>
                  <a:pt x="34" y="51"/>
                  <a:pt x="33" y="52"/>
                  <a:pt x="32" y="53"/>
                </a:cubicBezTo>
                <a:cubicBezTo>
                  <a:pt x="32" y="53"/>
                  <a:pt x="32" y="53"/>
                  <a:pt x="31" y="53"/>
                </a:cubicBezTo>
                <a:cubicBezTo>
                  <a:pt x="30" y="53"/>
                  <a:pt x="30" y="53"/>
                  <a:pt x="30" y="53"/>
                </a:cubicBezTo>
                <a:cubicBezTo>
                  <a:pt x="29" y="53"/>
                  <a:pt x="29" y="53"/>
                  <a:pt x="29" y="53"/>
                </a:cubicBezTo>
                <a:cubicBezTo>
                  <a:pt x="29" y="54"/>
                  <a:pt x="29" y="56"/>
                  <a:pt x="29" y="57"/>
                </a:cubicBezTo>
                <a:cubicBezTo>
                  <a:pt x="30" y="58"/>
                  <a:pt x="30" y="58"/>
                  <a:pt x="31" y="59"/>
                </a:cubicBezTo>
                <a:cubicBezTo>
                  <a:pt x="31" y="60"/>
                  <a:pt x="30" y="60"/>
                  <a:pt x="30" y="61"/>
                </a:cubicBezTo>
                <a:cubicBezTo>
                  <a:pt x="30" y="62"/>
                  <a:pt x="30" y="62"/>
                  <a:pt x="29" y="63"/>
                </a:cubicBezTo>
                <a:cubicBezTo>
                  <a:pt x="28" y="64"/>
                  <a:pt x="27" y="65"/>
                  <a:pt x="27" y="66"/>
                </a:cubicBezTo>
                <a:cubicBezTo>
                  <a:pt x="25" y="67"/>
                  <a:pt x="22" y="67"/>
                  <a:pt x="21" y="66"/>
                </a:cubicBezTo>
                <a:cubicBezTo>
                  <a:pt x="20" y="65"/>
                  <a:pt x="20" y="64"/>
                  <a:pt x="21" y="63"/>
                </a:cubicBezTo>
                <a:close/>
                <a:moveTo>
                  <a:pt x="13" y="71"/>
                </a:moveTo>
                <a:cubicBezTo>
                  <a:pt x="13" y="70"/>
                  <a:pt x="13" y="69"/>
                  <a:pt x="13" y="69"/>
                </a:cubicBezTo>
                <a:cubicBezTo>
                  <a:pt x="13" y="67"/>
                  <a:pt x="14" y="66"/>
                  <a:pt x="15" y="65"/>
                </a:cubicBezTo>
                <a:cubicBezTo>
                  <a:pt x="15" y="65"/>
                  <a:pt x="15" y="65"/>
                  <a:pt x="15" y="65"/>
                </a:cubicBezTo>
                <a:cubicBezTo>
                  <a:pt x="16" y="65"/>
                  <a:pt x="16" y="65"/>
                  <a:pt x="16" y="65"/>
                </a:cubicBezTo>
                <a:cubicBezTo>
                  <a:pt x="16" y="66"/>
                  <a:pt x="15" y="66"/>
                  <a:pt x="15" y="67"/>
                </a:cubicBezTo>
                <a:cubicBezTo>
                  <a:pt x="16" y="68"/>
                  <a:pt x="16" y="71"/>
                  <a:pt x="15" y="72"/>
                </a:cubicBezTo>
                <a:cubicBezTo>
                  <a:pt x="15" y="73"/>
                  <a:pt x="15" y="74"/>
                  <a:pt x="15" y="75"/>
                </a:cubicBezTo>
                <a:cubicBezTo>
                  <a:pt x="15" y="75"/>
                  <a:pt x="13" y="75"/>
                  <a:pt x="13" y="76"/>
                </a:cubicBezTo>
                <a:cubicBezTo>
                  <a:pt x="12" y="76"/>
                  <a:pt x="12" y="76"/>
                  <a:pt x="12" y="76"/>
                </a:cubicBezTo>
                <a:cubicBezTo>
                  <a:pt x="12" y="74"/>
                  <a:pt x="12" y="72"/>
                  <a:pt x="13" y="71"/>
                </a:cubicBezTo>
                <a:close/>
                <a:moveTo>
                  <a:pt x="11" y="86"/>
                </a:moveTo>
                <a:cubicBezTo>
                  <a:pt x="11" y="85"/>
                  <a:pt x="12" y="85"/>
                  <a:pt x="12" y="84"/>
                </a:cubicBezTo>
                <a:cubicBezTo>
                  <a:pt x="12" y="83"/>
                  <a:pt x="13" y="83"/>
                  <a:pt x="13" y="83"/>
                </a:cubicBezTo>
                <a:cubicBezTo>
                  <a:pt x="13" y="82"/>
                  <a:pt x="13" y="82"/>
                  <a:pt x="13" y="81"/>
                </a:cubicBezTo>
                <a:cubicBezTo>
                  <a:pt x="14" y="81"/>
                  <a:pt x="15" y="81"/>
                  <a:pt x="16" y="80"/>
                </a:cubicBezTo>
                <a:cubicBezTo>
                  <a:pt x="18" y="80"/>
                  <a:pt x="18" y="81"/>
                  <a:pt x="19" y="82"/>
                </a:cubicBezTo>
                <a:cubicBezTo>
                  <a:pt x="19" y="82"/>
                  <a:pt x="20" y="82"/>
                  <a:pt x="20" y="82"/>
                </a:cubicBezTo>
                <a:cubicBezTo>
                  <a:pt x="21" y="82"/>
                  <a:pt x="21" y="83"/>
                  <a:pt x="22" y="83"/>
                </a:cubicBezTo>
                <a:cubicBezTo>
                  <a:pt x="22" y="83"/>
                  <a:pt x="22" y="83"/>
                  <a:pt x="22" y="83"/>
                </a:cubicBezTo>
                <a:cubicBezTo>
                  <a:pt x="21" y="84"/>
                  <a:pt x="21" y="84"/>
                  <a:pt x="20" y="85"/>
                </a:cubicBezTo>
                <a:cubicBezTo>
                  <a:pt x="20" y="85"/>
                  <a:pt x="20" y="86"/>
                  <a:pt x="19" y="87"/>
                </a:cubicBezTo>
                <a:cubicBezTo>
                  <a:pt x="19" y="88"/>
                  <a:pt x="18" y="88"/>
                  <a:pt x="17" y="89"/>
                </a:cubicBezTo>
                <a:cubicBezTo>
                  <a:pt x="17" y="89"/>
                  <a:pt x="17" y="90"/>
                  <a:pt x="17" y="90"/>
                </a:cubicBezTo>
                <a:cubicBezTo>
                  <a:pt x="17" y="90"/>
                  <a:pt x="17" y="90"/>
                  <a:pt x="17" y="91"/>
                </a:cubicBezTo>
                <a:cubicBezTo>
                  <a:pt x="16" y="91"/>
                  <a:pt x="16" y="91"/>
                  <a:pt x="16" y="92"/>
                </a:cubicBezTo>
                <a:cubicBezTo>
                  <a:pt x="16" y="92"/>
                  <a:pt x="16" y="93"/>
                  <a:pt x="16" y="93"/>
                </a:cubicBezTo>
                <a:cubicBezTo>
                  <a:pt x="15" y="94"/>
                  <a:pt x="13" y="95"/>
                  <a:pt x="12" y="94"/>
                </a:cubicBezTo>
                <a:cubicBezTo>
                  <a:pt x="12" y="93"/>
                  <a:pt x="11" y="91"/>
                  <a:pt x="11" y="90"/>
                </a:cubicBezTo>
                <a:cubicBezTo>
                  <a:pt x="11" y="89"/>
                  <a:pt x="11" y="89"/>
                  <a:pt x="11" y="89"/>
                </a:cubicBezTo>
                <a:cubicBezTo>
                  <a:pt x="11" y="88"/>
                  <a:pt x="11" y="87"/>
                  <a:pt x="11" y="86"/>
                </a:cubicBezTo>
                <a:close/>
                <a:moveTo>
                  <a:pt x="5" y="100"/>
                </a:moveTo>
                <a:cubicBezTo>
                  <a:pt x="5" y="99"/>
                  <a:pt x="6" y="97"/>
                  <a:pt x="6" y="97"/>
                </a:cubicBezTo>
                <a:cubicBezTo>
                  <a:pt x="5" y="96"/>
                  <a:pt x="6" y="95"/>
                  <a:pt x="6" y="95"/>
                </a:cubicBezTo>
                <a:cubicBezTo>
                  <a:pt x="5" y="93"/>
                  <a:pt x="5" y="93"/>
                  <a:pt x="6" y="91"/>
                </a:cubicBezTo>
                <a:cubicBezTo>
                  <a:pt x="6" y="91"/>
                  <a:pt x="6" y="91"/>
                  <a:pt x="6" y="90"/>
                </a:cubicBezTo>
                <a:cubicBezTo>
                  <a:pt x="6" y="90"/>
                  <a:pt x="6" y="90"/>
                  <a:pt x="6" y="90"/>
                </a:cubicBezTo>
                <a:cubicBezTo>
                  <a:pt x="6" y="90"/>
                  <a:pt x="6" y="89"/>
                  <a:pt x="6" y="89"/>
                </a:cubicBezTo>
                <a:cubicBezTo>
                  <a:pt x="6" y="89"/>
                  <a:pt x="6" y="88"/>
                  <a:pt x="6" y="87"/>
                </a:cubicBezTo>
                <a:cubicBezTo>
                  <a:pt x="6" y="87"/>
                  <a:pt x="6" y="87"/>
                  <a:pt x="6" y="86"/>
                </a:cubicBezTo>
                <a:cubicBezTo>
                  <a:pt x="6" y="86"/>
                  <a:pt x="7" y="85"/>
                  <a:pt x="7" y="84"/>
                </a:cubicBezTo>
                <a:cubicBezTo>
                  <a:pt x="7" y="84"/>
                  <a:pt x="7" y="84"/>
                  <a:pt x="7" y="84"/>
                </a:cubicBezTo>
                <a:cubicBezTo>
                  <a:pt x="7" y="83"/>
                  <a:pt x="7" y="81"/>
                  <a:pt x="8" y="80"/>
                </a:cubicBezTo>
                <a:cubicBezTo>
                  <a:pt x="8" y="79"/>
                  <a:pt x="7" y="79"/>
                  <a:pt x="8" y="78"/>
                </a:cubicBezTo>
                <a:cubicBezTo>
                  <a:pt x="9" y="78"/>
                  <a:pt x="9" y="78"/>
                  <a:pt x="9" y="78"/>
                </a:cubicBezTo>
                <a:cubicBezTo>
                  <a:pt x="9" y="78"/>
                  <a:pt x="9" y="78"/>
                  <a:pt x="9" y="78"/>
                </a:cubicBezTo>
                <a:cubicBezTo>
                  <a:pt x="9" y="79"/>
                  <a:pt x="9" y="80"/>
                  <a:pt x="9" y="80"/>
                </a:cubicBezTo>
                <a:cubicBezTo>
                  <a:pt x="8" y="81"/>
                  <a:pt x="8" y="82"/>
                  <a:pt x="8" y="82"/>
                </a:cubicBezTo>
                <a:cubicBezTo>
                  <a:pt x="8" y="83"/>
                  <a:pt x="8" y="83"/>
                  <a:pt x="8" y="84"/>
                </a:cubicBezTo>
                <a:cubicBezTo>
                  <a:pt x="8" y="85"/>
                  <a:pt x="8" y="85"/>
                  <a:pt x="8" y="86"/>
                </a:cubicBezTo>
                <a:cubicBezTo>
                  <a:pt x="8" y="86"/>
                  <a:pt x="8" y="88"/>
                  <a:pt x="8" y="89"/>
                </a:cubicBezTo>
                <a:cubicBezTo>
                  <a:pt x="8" y="89"/>
                  <a:pt x="7" y="90"/>
                  <a:pt x="7" y="91"/>
                </a:cubicBezTo>
                <a:cubicBezTo>
                  <a:pt x="8" y="92"/>
                  <a:pt x="8" y="93"/>
                  <a:pt x="8" y="94"/>
                </a:cubicBezTo>
                <a:cubicBezTo>
                  <a:pt x="8" y="95"/>
                  <a:pt x="7" y="96"/>
                  <a:pt x="7" y="97"/>
                </a:cubicBezTo>
                <a:cubicBezTo>
                  <a:pt x="7" y="98"/>
                  <a:pt x="7" y="98"/>
                  <a:pt x="7" y="98"/>
                </a:cubicBezTo>
                <a:cubicBezTo>
                  <a:pt x="7" y="98"/>
                  <a:pt x="7" y="99"/>
                  <a:pt x="7" y="99"/>
                </a:cubicBezTo>
                <a:cubicBezTo>
                  <a:pt x="7" y="100"/>
                  <a:pt x="7" y="100"/>
                  <a:pt x="7" y="101"/>
                </a:cubicBezTo>
                <a:cubicBezTo>
                  <a:pt x="7" y="101"/>
                  <a:pt x="7" y="102"/>
                  <a:pt x="7" y="103"/>
                </a:cubicBezTo>
                <a:cubicBezTo>
                  <a:pt x="7" y="104"/>
                  <a:pt x="8" y="105"/>
                  <a:pt x="7" y="105"/>
                </a:cubicBezTo>
                <a:cubicBezTo>
                  <a:pt x="7" y="105"/>
                  <a:pt x="7" y="105"/>
                  <a:pt x="7" y="105"/>
                </a:cubicBezTo>
                <a:cubicBezTo>
                  <a:pt x="6" y="104"/>
                  <a:pt x="6" y="103"/>
                  <a:pt x="5" y="102"/>
                </a:cubicBezTo>
                <a:cubicBezTo>
                  <a:pt x="5" y="101"/>
                  <a:pt x="5" y="101"/>
                  <a:pt x="5" y="100"/>
                </a:cubicBezTo>
                <a:close/>
                <a:moveTo>
                  <a:pt x="12" y="123"/>
                </a:moveTo>
                <a:cubicBezTo>
                  <a:pt x="12" y="124"/>
                  <a:pt x="12" y="124"/>
                  <a:pt x="12" y="124"/>
                </a:cubicBezTo>
                <a:cubicBezTo>
                  <a:pt x="12" y="124"/>
                  <a:pt x="12" y="124"/>
                  <a:pt x="12" y="124"/>
                </a:cubicBezTo>
                <a:cubicBezTo>
                  <a:pt x="11" y="123"/>
                  <a:pt x="11" y="122"/>
                  <a:pt x="10" y="121"/>
                </a:cubicBezTo>
                <a:cubicBezTo>
                  <a:pt x="10" y="121"/>
                  <a:pt x="9" y="120"/>
                  <a:pt x="9" y="119"/>
                </a:cubicBezTo>
                <a:cubicBezTo>
                  <a:pt x="8" y="119"/>
                  <a:pt x="8" y="119"/>
                  <a:pt x="8" y="118"/>
                </a:cubicBezTo>
                <a:cubicBezTo>
                  <a:pt x="7" y="117"/>
                  <a:pt x="6" y="116"/>
                  <a:pt x="6" y="114"/>
                </a:cubicBezTo>
                <a:cubicBezTo>
                  <a:pt x="7" y="114"/>
                  <a:pt x="7" y="115"/>
                  <a:pt x="7" y="115"/>
                </a:cubicBezTo>
                <a:cubicBezTo>
                  <a:pt x="8" y="116"/>
                  <a:pt x="8" y="117"/>
                  <a:pt x="9" y="117"/>
                </a:cubicBezTo>
                <a:cubicBezTo>
                  <a:pt x="9" y="117"/>
                  <a:pt x="10" y="117"/>
                  <a:pt x="10" y="118"/>
                </a:cubicBezTo>
                <a:cubicBezTo>
                  <a:pt x="11" y="119"/>
                  <a:pt x="11" y="120"/>
                  <a:pt x="12" y="121"/>
                </a:cubicBezTo>
                <a:cubicBezTo>
                  <a:pt x="12" y="121"/>
                  <a:pt x="13" y="123"/>
                  <a:pt x="12" y="123"/>
                </a:cubicBezTo>
                <a:close/>
                <a:moveTo>
                  <a:pt x="31" y="138"/>
                </a:moveTo>
                <a:cubicBezTo>
                  <a:pt x="31" y="138"/>
                  <a:pt x="31" y="138"/>
                  <a:pt x="31" y="139"/>
                </a:cubicBezTo>
                <a:cubicBezTo>
                  <a:pt x="30" y="138"/>
                  <a:pt x="30" y="138"/>
                  <a:pt x="30" y="138"/>
                </a:cubicBezTo>
                <a:cubicBezTo>
                  <a:pt x="30" y="138"/>
                  <a:pt x="30" y="138"/>
                  <a:pt x="30" y="138"/>
                </a:cubicBezTo>
                <a:cubicBezTo>
                  <a:pt x="31" y="137"/>
                  <a:pt x="31" y="137"/>
                  <a:pt x="31" y="137"/>
                </a:cubicBezTo>
                <a:cubicBezTo>
                  <a:pt x="31" y="137"/>
                  <a:pt x="31" y="137"/>
                  <a:pt x="31" y="137"/>
                </a:cubicBezTo>
                <a:cubicBezTo>
                  <a:pt x="31" y="138"/>
                  <a:pt x="31" y="138"/>
                  <a:pt x="31" y="138"/>
                </a:cubicBezTo>
                <a:cubicBezTo>
                  <a:pt x="31" y="138"/>
                  <a:pt x="31" y="138"/>
                  <a:pt x="31" y="138"/>
                </a:cubicBezTo>
                <a:close/>
                <a:moveTo>
                  <a:pt x="33" y="132"/>
                </a:moveTo>
                <a:cubicBezTo>
                  <a:pt x="32" y="132"/>
                  <a:pt x="32" y="132"/>
                  <a:pt x="32" y="132"/>
                </a:cubicBezTo>
                <a:cubicBezTo>
                  <a:pt x="32" y="132"/>
                  <a:pt x="32" y="132"/>
                  <a:pt x="32" y="132"/>
                </a:cubicBezTo>
                <a:cubicBezTo>
                  <a:pt x="32" y="131"/>
                  <a:pt x="33" y="131"/>
                  <a:pt x="33" y="131"/>
                </a:cubicBezTo>
                <a:cubicBezTo>
                  <a:pt x="35" y="130"/>
                  <a:pt x="37" y="130"/>
                  <a:pt x="38" y="129"/>
                </a:cubicBezTo>
                <a:cubicBezTo>
                  <a:pt x="38" y="129"/>
                  <a:pt x="38" y="129"/>
                  <a:pt x="38" y="129"/>
                </a:cubicBezTo>
                <a:cubicBezTo>
                  <a:pt x="38" y="129"/>
                  <a:pt x="38" y="129"/>
                  <a:pt x="38" y="129"/>
                </a:cubicBezTo>
                <a:cubicBezTo>
                  <a:pt x="38" y="129"/>
                  <a:pt x="38" y="129"/>
                  <a:pt x="38" y="130"/>
                </a:cubicBezTo>
                <a:cubicBezTo>
                  <a:pt x="38" y="130"/>
                  <a:pt x="37" y="130"/>
                  <a:pt x="36" y="130"/>
                </a:cubicBezTo>
                <a:cubicBezTo>
                  <a:pt x="36" y="131"/>
                  <a:pt x="35" y="131"/>
                  <a:pt x="35" y="131"/>
                </a:cubicBezTo>
                <a:cubicBezTo>
                  <a:pt x="34" y="131"/>
                  <a:pt x="33" y="132"/>
                  <a:pt x="33" y="132"/>
                </a:cubicBezTo>
                <a:close/>
                <a:moveTo>
                  <a:pt x="87" y="125"/>
                </a:moveTo>
                <a:cubicBezTo>
                  <a:pt x="85" y="126"/>
                  <a:pt x="82" y="126"/>
                  <a:pt x="80" y="126"/>
                </a:cubicBezTo>
                <a:cubicBezTo>
                  <a:pt x="79" y="126"/>
                  <a:pt x="78" y="126"/>
                  <a:pt x="77" y="126"/>
                </a:cubicBezTo>
                <a:cubicBezTo>
                  <a:pt x="76" y="126"/>
                  <a:pt x="75" y="126"/>
                  <a:pt x="74" y="126"/>
                </a:cubicBezTo>
                <a:cubicBezTo>
                  <a:pt x="73" y="126"/>
                  <a:pt x="73" y="126"/>
                  <a:pt x="73" y="126"/>
                </a:cubicBezTo>
                <a:cubicBezTo>
                  <a:pt x="72" y="126"/>
                  <a:pt x="71" y="126"/>
                  <a:pt x="70" y="126"/>
                </a:cubicBezTo>
                <a:cubicBezTo>
                  <a:pt x="68" y="126"/>
                  <a:pt x="68" y="126"/>
                  <a:pt x="68" y="126"/>
                </a:cubicBezTo>
                <a:cubicBezTo>
                  <a:pt x="67" y="127"/>
                  <a:pt x="66" y="127"/>
                  <a:pt x="66" y="127"/>
                </a:cubicBezTo>
                <a:cubicBezTo>
                  <a:pt x="65" y="126"/>
                  <a:pt x="64" y="126"/>
                  <a:pt x="63" y="126"/>
                </a:cubicBezTo>
                <a:cubicBezTo>
                  <a:pt x="62" y="126"/>
                  <a:pt x="62" y="126"/>
                  <a:pt x="61" y="127"/>
                </a:cubicBezTo>
                <a:cubicBezTo>
                  <a:pt x="60" y="127"/>
                  <a:pt x="60" y="126"/>
                  <a:pt x="59" y="126"/>
                </a:cubicBezTo>
                <a:cubicBezTo>
                  <a:pt x="59" y="126"/>
                  <a:pt x="59" y="126"/>
                  <a:pt x="59" y="126"/>
                </a:cubicBezTo>
                <a:cubicBezTo>
                  <a:pt x="59" y="126"/>
                  <a:pt x="59" y="125"/>
                  <a:pt x="59" y="125"/>
                </a:cubicBezTo>
                <a:cubicBezTo>
                  <a:pt x="61" y="125"/>
                  <a:pt x="64" y="125"/>
                  <a:pt x="67" y="125"/>
                </a:cubicBezTo>
                <a:cubicBezTo>
                  <a:pt x="68" y="124"/>
                  <a:pt x="70" y="125"/>
                  <a:pt x="70" y="124"/>
                </a:cubicBezTo>
                <a:cubicBezTo>
                  <a:pt x="76" y="124"/>
                  <a:pt x="81" y="125"/>
                  <a:pt x="87" y="125"/>
                </a:cubicBezTo>
                <a:cubicBezTo>
                  <a:pt x="87" y="125"/>
                  <a:pt x="87" y="125"/>
                  <a:pt x="87" y="125"/>
                </a:cubicBezTo>
                <a:close/>
                <a:moveTo>
                  <a:pt x="87" y="130"/>
                </a:moveTo>
                <a:cubicBezTo>
                  <a:pt x="87" y="130"/>
                  <a:pt x="87" y="130"/>
                  <a:pt x="87" y="130"/>
                </a:cubicBezTo>
                <a:cubicBezTo>
                  <a:pt x="87" y="130"/>
                  <a:pt x="85" y="130"/>
                  <a:pt x="85" y="130"/>
                </a:cubicBezTo>
                <a:cubicBezTo>
                  <a:pt x="85" y="130"/>
                  <a:pt x="85" y="130"/>
                  <a:pt x="85" y="130"/>
                </a:cubicBezTo>
                <a:cubicBezTo>
                  <a:pt x="86" y="130"/>
                  <a:pt x="86" y="130"/>
                  <a:pt x="87" y="130"/>
                </a:cubicBezTo>
                <a:cubicBezTo>
                  <a:pt x="87" y="130"/>
                  <a:pt x="87" y="130"/>
                  <a:pt x="87" y="130"/>
                </a:cubicBezTo>
                <a:close/>
                <a:moveTo>
                  <a:pt x="61" y="132"/>
                </a:moveTo>
                <a:cubicBezTo>
                  <a:pt x="63" y="132"/>
                  <a:pt x="64" y="132"/>
                  <a:pt x="65" y="132"/>
                </a:cubicBezTo>
                <a:cubicBezTo>
                  <a:pt x="65" y="132"/>
                  <a:pt x="66" y="132"/>
                  <a:pt x="66" y="131"/>
                </a:cubicBezTo>
                <a:cubicBezTo>
                  <a:pt x="66" y="131"/>
                  <a:pt x="67" y="131"/>
                  <a:pt x="67" y="131"/>
                </a:cubicBezTo>
                <a:cubicBezTo>
                  <a:pt x="68" y="131"/>
                  <a:pt x="72" y="131"/>
                  <a:pt x="72" y="131"/>
                </a:cubicBezTo>
                <a:cubicBezTo>
                  <a:pt x="73" y="132"/>
                  <a:pt x="73" y="132"/>
                  <a:pt x="74" y="132"/>
                </a:cubicBezTo>
                <a:cubicBezTo>
                  <a:pt x="74" y="132"/>
                  <a:pt x="74" y="132"/>
                  <a:pt x="74" y="132"/>
                </a:cubicBezTo>
                <a:cubicBezTo>
                  <a:pt x="70" y="133"/>
                  <a:pt x="66" y="132"/>
                  <a:pt x="63" y="133"/>
                </a:cubicBezTo>
                <a:cubicBezTo>
                  <a:pt x="62" y="133"/>
                  <a:pt x="62" y="132"/>
                  <a:pt x="61" y="133"/>
                </a:cubicBezTo>
                <a:cubicBezTo>
                  <a:pt x="60" y="133"/>
                  <a:pt x="60" y="133"/>
                  <a:pt x="59" y="133"/>
                </a:cubicBezTo>
                <a:cubicBezTo>
                  <a:pt x="58" y="134"/>
                  <a:pt x="57" y="133"/>
                  <a:pt x="55" y="134"/>
                </a:cubicBezTo>
                <a:cubicBezTo>
                  <a:pt x="54" y="134"/>
                  <a:pt x="53" y="135"/>
                  <a:pt x="52" y="135"/>
                </a:cubicBezTo>
                <a:cubicBezTo>
                  <a:pt x="51" y="135"/>
                  <a:pt x="51" y="135"/>
                  <a:pt x="51" y="135"/>
                </a:cubicBezTo>
                <a:cubicBezTo>
                  <a:pt x="50" y="135"/>
                  <a:pt x="50" y="135"/>
                  <a:pt x="49" y="136"/>
                </a:cubicBezTo>
                <a:cubicBezTo>
                  <a:pt x="47" y="136"/>
                  <a:pt x="45" y="137"/>
                  <a:pt x="43" y="138"/>
                </a:cubicBezTo>
                <a:cubicBezTo>
                  <a:pt x="42" y="138"/>
                  <a:pt x="41" y="139"/>
                  <a:pt x="40" y="139"/>
                </a:cubicBezTo>
                <a:cubicBezTo>
                  <a:pt x="39" y="139"/>
                  <a:pt x="39" y="140"/>
                  <a:pt x="38" y="140"/>
                </a:cubicBezTo>
                <a:cubicBezTo>
                  <a:pt x="38" y="140"/>
                  <a:pt x="37" y="140"/>
                  <a:pt x="36" y="141"/>
                </a:cubicBezTo>
                <a:cubicBezTo>
                  <a:pt x="36" y="141"/>
                  <a:pt x="36" y="141"/>
                  <a:pt x="36" y="141"/>
                </a:cubicBezTo>
                <a:cubicBezTo>
                  <a:pt x="36" y="140"/>
                  <a:pt x="37" y="139"/>
                  <a:pt x="37" y="139"/>
                </a:cubicBezTo>
                <a:cubicBezTo>
                  <a:pt x="38" y="139"/>
                  <a:pt x="38" y="138"/>
                  <a:pt x="39" y="138"/>
                </a:cubicBezTo>
                <a:cubicBezTo>
                  <a:pt x="39" y="137"/>
                  <a:pt x="40" y="137"/>
                  <a:pt x="40" y="137"/>
                </a:cubicBezTo>
                <a:cubicBezTo>
                  <a:pt x="40" y="137"/>
                  <a:pt x="41" y="136"/>
                  <a:pt x="42" y="136"/>
                </a:cubicBezTo>
                <a:cubicBezTo>
                  <a:pt x="42" y="136"/>
                  <a:pt x="42" y="136"/>
                  <a:pt x="43" y="135"/>
                </a:cubicBezTo>
                <a:cubicBezTo>
                  <a:pt x="44" y="134"/>
                  <a:pt x="46" y="134"/>
                  <a:pt x="48" y="133"/>
                </a:cubicBezTo>
                <a:cubicBezTo>
                  <a:pt x="48" y="133"/>
                  <a:pt x="49" y="133"/>
                  <a:pt x="49" y="133"/>
                </a:cubicBezTo>
                <a:cubicBezTo>
                  <a:pt x="51" y="133"/>
                  <a:pt x="53" y="132"/>
                  <a:pt x="55" y="132"/>
                </a:cubicBezTo>
                <a:cubicBezTo>
                  <a:pt x="56" y="132"/>
                  <a:pt x="56" y="132"/>
                  <a:pt x="57" y="132"/>
                </a:cubicBezTo>
                <a:cubicBezTo>
                  <a:pt x="57" y="132"/>
                  <a:pt x="58" y="132"/>
                  <a:pt x="59" y="132"/>
                </a:cubicBezTo>
                <a:cubicBezTo>
                  <a:pt x="59" y="132"/>
                  <a:pt x="61" y="132"/>
                  <a:pt x="61" y="132"/>
                </a:cubicBezTo>
                <a:close/>
                <a:moveTo>
                  <a:pt x="65" y="138"/>
                </a:moveTo>
                <a:cubicBezTo>
                  <a:pt x="65" y="139"/>
                  <a:pt x="63" y="139"/>
                  <a:pt x="62" y="140"/>
                </a:cubicBezTo>
                <a:cubicBezTo>
                  <a:pt x="60" y="140"/>
                  <a:pt x="58" y="141"/>
                  <a:pt x="56" y="142"/>
                </a:cubicBezTo>
                <a:cubicBezTo>
                  <a:pt x="54" y="142"/>
                  <a:pt x="53" y="142"/>
                  <a:pt x="51" y="142"/>
                </a:cubicBezTo>
                <a:cubicBezTo>
                  <a:pt x="51" y="142"/>
                  <a:pt x="51" y="142"/>
                  <a:pt x="51" y="142"/>
                </a:cubicBezTo>
                <a:cubicBezTo>
                  <a:pt x="50" y="142"/>
                  <a:pt x="50" y="142"/>
                  <a:pt x="50" y="142"/>
                </a:cubicBezTo>
                <a:cubicBezTo>
                  <a:pt x="54" y="139"/>
                  <a:pt x="59" y="138"/>
                  <a:pt x="65" y="138"/>
                </a:cubicBezTo>
                <a:close/>
                <a:moveTo>
                  <a:pt x="39" y="147"/>
                </a:moveTo>
                <a:cubicBezTo>
                  <a:pt x="38" y="148"/>
                  <a:pt x="37" y="148"/>
                  <a:pt x="36" y="149"/>
                </a:cubicBezTo>
                <a:cubicBezTo>
                  <a:pt x="35" y="149"/>
                  <a:pt x="35" y="148"/>
                  <a:pt x="34" y="148"/>
                </a:cubicBezTo>
                <a:cubicBezTo>
                  <a:pt x="35" y="146"/>
                  <a:pt x="40" y="145"/>
                  <a:pt x="41" y="144"/>
                </a:cubicBezTo>
                <a:cubicBezTo>
                  <a:pt x="42" y="144"/>
                  <a:pt x="42" y="144"/>
                  <a:pt x="42" y="144"/>
                </a:cubicBezTo>
                <a:cubicBezTo>
                  <a:pt x="42" y="144"/>
                  <a:pt x="42" y="144"/>
                  <a:pt x="42" y="144"/>
                </a:cubicBezTo>
                <a:cubicBezTo>
                  <a:pt x="41" y="145"/>
                  <a:pt x="40" y="146"/>
                  <a:pt x="39" y="147"/>
                </a:cubicBezTo>
                <a:close/>
                <a:moveTo>
                  <a:pt x="44" y="151"/>
                </a:moveTo>
                <a:cubicBezTo>
                  <a:pt x="44" y="150"/>
                  <a:pt x="43" y="150"/>
                  <a:pt x="42" y="150"/>
                </a:cubicBezTo>
                <a:cubicBezTo>
                  <a:pt x="42" y="150"/>
                  <a:pt x="42" y="150"/>
                  <a:pt x="42" y="149"/>
                </a:cubicBezTo>
                <a:cubicBezTo>
                  <a:pt x="42" y="149"/>
                  <a:pt x="43" y="148"/>
                  <a:pt x="43" y="148"/>
                </a:cubicBezTo>
                <a:cubicBezTo>
                  <a:pt x="44" y="148"/>
                  <a:pt x="44" y="149"/>
                  <a:pt x="44" y="149"/>
                </a:cubicBezTo>
                <a:cubicBezTo>
                  <a:pt x="45" y="148"/>
                  <a:pt x="46" y="148"/>
                  <a:pt x="47" y="148"/>
                </a:cubicBezTo>
                <a:cubicBezTo>
                  <a:pt x="47" y="148"/>
                  <a:pt x="48" y="148"/>
                  <a:pt x="48" y="148"/>
                </a:cubicBezTo>
                <a:cubicBezTo>
                  <a:pt x="49" y="148"/>
                  <a:pt x="50" y="148"/>
                  <a:pt x="51" y="148"/>
                </a:cubicBezTo>
                <a:cubicBezTo>
                  <a:pt x="53" y="147"/>
                  <a:pt x="55" y="147"/>
                  <a:pt x="58" y="146"/>
                </a:cubicBezTo>
                <a:cubicBezTo>
                  <a:pt x="59" y="146"/>
                  <a:pt x="60" y="145"/>
                  <a:pt x="61" y="145"/>
                </a:cubicBezTo>
                <a:cubicBezTo>
                  <a:pt x="61" y="145"/>
                  <a:pt x="61" y="145"/>
                  <a:pt x="62" y="145"/>
                </a:cubicBezTo>
                <a:cubicBezTo>
                  <a:pt x="63" y="145"/>
                  <a:pt x="63" y="144"/>
                  <a:pt x="64" y="144"/>
                </a:cubicBezTo>
                <a:cubicBezTo>
                  <a:pt x="65" y="144"/>
                  <a:pt x="66" y="144"/>
                  <a:pt x="66" y="144"/>
                </a:cubicBezTo>
                <a:cubicBezTo>
                  <a:pt x="67" y="143"/>
                  <a:pt x="69" y="143"/>
                  <a:pt x="70" y="142"/>
                </a:cubicBezTo>
                <a:cubicBezTo>
                  <a:pt x="72" y="142"/>
                  <a:pt x="73" y="142"/>
                  <a:pt x="74" y="142"/>
                </a:cubicBezTo>
                <a:cubicBezTo>
                  <a:pt x="75" y="142"/>
                  <a:pt x="76" y="141"/>
                  <a:pt x="77" y="141"/>
                </a:cubicBezTo>
                <a:cubicBezTo>
                  <a:pt x="77" y="141"/>
                  <a:pt x="77" y="141"/>
                  <a:pt x="77" y="141"/>
                </a:cubicBezTo>
                <a:cubicBezTo>
                  <a:pt x="77" y="141"/>
                  <a:pt x="76" y="142"/>
                  <a:pt x="76" y="142"/>
                </a:cubicBezTo>
                <a:cubicBezTo>
                  <a:pt x="75" y="143"/>
                  <a:pt x="73" y="143"/>
                  <a:pt x="72" y="144"/>
                </a:cubicBezTo>
                <a:cubicBezTo>
                  <a:pt x="71" y="144"/>
                  <a:pt x="71" y="145"/>
                  <a:pt x="71" y="145"/>
                </a:cubicBezTo>
                <a:cubicBezTo>
                  <a:pt x="70" y="145"/>
                  <a:pt x="69" y="145"/>
                  <a:pt x="68" y="146"/>
                </a:cubicBezTo>
                <a:cubicBezTo>
                  <a:pt x="64" y="147"/>
                  <a:pt x="60" y="149"/>
                  <a:pt x="55" y="150"/>
                </a:cubicBezTo>
                <a:cubicBezTo>
                  <a:pt x="54" y="150"/>
                  <a:pt x="52" y="150"/>
                  <a:pt x="51" y="150"/>
                </a:cubicBezTo>
                <a:cubicBezTo>
                  <a:pt x="50" y="151"/>
                  <a:pt x="49" y="150"/>
                  <a:pt x="49" y="150"/>
                </a:cubicBezTo>
                <a:cubicBezTo>
                  <a:pt x="48" y="151"/>
                  <a:pt x="46" y="151"/>
                  <a:pt x="46" y="151"/>
                </a:cubicBezTo>
                <a:cubicBezTo>
                  <a:pt x="45" y="151"/>
                  <a:pt x="45" y="151"/>
                  <a:pt x="44" y="151"/>
                </a:cubicBezTo>
                <a:close/>
                <a:moveTo>
                  <a:pt x="46" y="154"/>
                </a:moveTo>
                <a:cubicBezTo>
                  <a:pt x="46" y="154"/>
                  <a:pt x="46" y="154"/>
                  <a:pt x="46" y="154"/>
                </a:cubicBezTo>
                <a:cubicBezTo>
                  <a:pt x="46" y="154"/>
                  <a:pt x="46" y="154"/>
                  <a:pt x="46" y="154"/>
                </a:cubicBezTo>
                <a:cubicBezTo>
                  <a:pt x="46" y="155"/>
                  <a:pt x="46" y="154"/>
                  <a:pt x="46" y="154"/>
                </a:cubicBezTo>
                <a:close/>
                <a:moveTo>
                  <a:pt x="79" y="147"/>
                </a:moveTo>
                <a:cubicBezTo>
                  <a:pt x="77" y="148"/>
                  <a:pt x="76" y="149"/>
                  <a:pt x="74" y="150"/>
                </a:cubicBezTo>
                <a:cubicBezTo>
                  <a:pt x="73" y="150"/>
                  <a:pt x="73" y="150"/>
                  <a:pt x="72" y="150"/>
                </a:cubicBezTo>
                <a:cubicBezTo>
                  <a:pt x="72" y="150"/>
                  <a:pt x="71" y="151"/>
                  <a:pt x="70" y="151"/>
                </a:cubicBezTo>
                <a:cubicBezTo>
                  <a:pt x="69" y="151"/>
                  <a:pt x="69" y="152"/>
                  <a:pt x="68" y="152"/>
                </a:cubicBezTo>
                <a:cubicBezTo>
                  <a:pt x="67" y="152"/>
                  <a:pt x="66" y="153"/>
                  <a:pt x="65" y="153"/>
                </a:cubicBezTo>
                <a:cubicBezTo>
                  <a:pt x="62" y="154"/>
                  <a:pt x="60" y="154"/>
                  <a:pt x="58" y="154"/>
                </a:cubicBezTo>
                <a:cubicBezTo>
                  <a:pt x="57" y="155"/>
                  <a:pt x="56" y="155"/>
                  <a:pt x="55" y="155"/>
                </a:cubicBezTo>
                <a:cubicBezTo>
                  <a:pt x="54" y="156"/>
                  <a:pt x="54" y="155"/>
                  <a:pt x="53" y="155"/>
                </a:cubicBezTo>
                <a:cubicBezTo>
                  <a:pt x="53" y="156"/>
                  <a:pt x="53" y="156"/>
                  <a:pt x="52" y="156"/>
                </a:cubicBezTo>
                <a:cubicBezTo>
                  <a:pt x="52" y="156"/>
                  <a:pt x="52" y="155"/>
                  <a:pt x="51" y="155"/>
                </a:cubicBezTo>
                <a:cubicBezTo>
                  <a:pt x="50" y="155"/>
                  <a:pt x="50" y="155"/>
                  <a:pt x="50" y="155"/>
                </a:cubicBezTo>
                <a:cubicBezTo>
                  <a:pt x="49" y="155"/>
                  <a:pt x="48" y="155"/>
                  <a:pt x="47" y="155"/>
                </a:cubicBezTo>
                <a:cubicBezTo>
                  <a:pt x="47" y="155"/>
                  <a:pt x="47" y="155"/>
                  <a:pt x="47" y="154"/>
                </a:cubicBezTo>
                <a:cubicBezTo>
                  <a:pt x="48" y="154"/>
                  <a:pt x="49" y="154"/>
                  <a:pt x="51" y="154"/>
                </a:cubicBezTo>
                <a:cubicBezTo>
                  <a:pt x="52" y="154"/>
                  <a:pt x="55" y="154"/>
                  <a:pt x="56" y="153"/>
                </a:cubicBezTo>
                <a:cubicBezTo>
                  <a:pt x="57" y="153"/>
                  <a:pt x="58" y="153"/>
                  <a:pt x="59" y="153"/>
                </a:cubicBezTo>
                <a:cubicBezTo>
                  <a:pt x="63" y="152"/>
                  <a:pt x="66" y="151"/>
                  <a:pt x="70" y="150"/>
                </a:cubicBezTo>
                <a:cubicBezTo>
                  <a:pt x="71" y="149"/>
                  <a:pt x="71" y="149"/>
                  <a:pt x="72" y="149"/>
                </a:cubicBezTo>
                <a:cubicBezTo>
                  <a:pt x="76" y="147"/>
                  <a:pt x="79" y="145"/>
                  <a:pt x="83" y="144"/>
                </a:cubicBezTo>
                <a:cubicBezTo>
                  <a:pt x="84" y="143"/>
                  <a:pt x="85" y="142"/>
                  <a:pt x="86" y="141"/>
                </a:cubicBezTo>
                <a:cubicBezTo>
                  <a:pt x="86" y="142"/>
                  <a:pt x="86" y="142"/>
                  <a:pt x="86" y="142"/>
                </a:cubicBezTo>
                <a:cubicBezTo>
                  <a:pt x="86" y="142"/>
                  <a:pt x="86" y="142"/>
                  <a:pt x="86" y="142"/>
                </a:cubicBezTo>
                <a:cubicBezTo>
                  <a:pt x="86" y="142"/>
                  <a:pt x="85" y="143"/>
                  <a:pt x="85" y="143"/>
                </a:cubicBezTo>
                <a:cubicBezTo>
                  <a:pt x="84" y="144"/>
                  <a:pt x="84" y="144"/>
                  <a:pt x="83" y="144"/>
                </a:cubicBezTo>
                <a:cubicBezTo>
                  <a:pt x="82" y="145"/>
                  <a:pt x="80" y="146"/>
                  <a:pt x="79" y="147"/>
                </a:cubicBezTo>
                <a:close/>
                <a:moveTo>
                  <a:pt x="113" y="135"/>
                </a:moveTo>
                <a:cubicBezTo>
                  <a:pt x="112" y="135"/>
                  <a:pt x="112" y="136"/>
                  <a:pt x="112" y="136"/>
                </a:cubicBezTo>
                <a:cubicBezTo>
                  <a:pt x="112" y="137"/>
                  <a:pt x="111" y="137"/>
                  <a:pt x="111" y="137"/>
                </a:cubicBezTo>
                <a:cubicBezTo>
                  <a:pt x="111" y="137"/>
                  <a:pt x="111" y="138"/>
                  <a:pt x="111" y="138"/>
                </a:cubicBezTo>
                <a:cubicBezTo>
                  <a:pt x="110" y="139"/>
                  <a:pt x="110" y="139"/>
                  <a:pt x="109" y="139"/>
                </a:cubicBezTo>
                <a:cubicBezTo>
                  <a:pt x="109" y="140"/>
                  <a:pt x="108" y="141"/>
                  <a:pt x="107" y="142"/>
                </a:cubicBezTo>
                <a:cubicBezTo>
                  <a:pt x="107" y="142"/>
                  <a:pt x="107" y="142"/>
                  <a:pt x="106" y="142"/>
                </a:cubicBezTo>
                <a:cubicBezTo>
                  <a:pt x="106" y="143"/>
                  <a:pt x="105" y="143"/>
                  <a:pt x="105" y="144"/>
                </a:cubicBezTo>
                <a:cubicBezTo>
                  <a:pt x="104" y="144"/>
                  <a:pt x="104" y="144"/>
                  <a:pt x="104" y="144"/>
                </a:cubicBezTo>
                <a:cubicBezTo>
                  <a:pt x="103" y="145"/>
                  <a:pt x="102" y="147"/>
                  <a:pt x="102" y="149"/>
                </a:cubicBezTo>
                <a:cubicBezTo>
                  <a:pt x="102" y="150"/>
                  <a:pt x="102" y="150"/>
                  <a:pt x="102" y="151"/>
                </a:cubicBezTo>
                <a:cubicBezTo>
                  <a:pt x="101" y="152"/>
                  <a:pt x="101" y="153"/>
                  <a:pt x="101" y="154"/>
                </a:cubicBezTo>
                <a:cubicBezTo>
                  <a:pt x="100" y="154"/>
                  <a:pt x="100" y="154"/>
                  <a:pt x="100" y="155"/>
                </a:cubicBezTo>
                <a:cubicBezTo>
                  <a:pt x="99" y="156"/>
                  <a:pt x="99" y="156"/>
                  <a:pt x="98" y="157"/>
                </a:cubicBezTo>
                <a:cubicBezTo>
                  <a:pt x="98" y="157"/>
                  <a:pt x="97" y="157"/>
                  <a:pt x="96" y="158"/>
                </a:cubicBezTo>
                <a:cubicBezTo>
                  <a:pt x="96" y="158"/>
                  <a:pt x="96" y="159"/>
                  <a:pt x="95" y="160"/>
                </a:cubicBezTo>
                <a:cubicBezTo>
                  <a:pt x="94" y="161"/>
                  <a:pt x="94" y="162"/>
                  <a:pt x="93" y="163"/>
                </a:cubicBezTo>
                <a:cubicBezTo>
                  <a:pt x="93" y="164"/>
                  <a:pt x="92" y="165"/>
                  <a:pt x="92" y="165"/>
                </a:cubicBezTo>
                <a:cubicBezTo>
                  <a:pt x="91" y="167"/>
                  <a:pt x="90" y="169"/>
                  <a:pt x="90" y="171"/>
                </a:cubicBezTo>
                <a:cubicBezTo>
                  <a:pt x="89" y="173"/>
                  <a:pt x="90" y="175"/>
                  <a:pt x="89" y="176"/>
                </a:cubicBezTo>
                <a:cubicBezTo>
                  <a:pt x="88" y="177"/>
                  <a:pt x="88" y="176"/>
                  <a:pt x="87" y="176"/>
                </a:cubicBezTo>
                <a:cubicBezTo>
                  <a:pt x="86" y="177"/>
                  <a:pt x="85" y="177"/>
                  <a:pt x="84" y="177"/>
                </a:cubicBezTo>
                <a:cubicBezTo>
                  <a:pt x="84" y="177"/>
                  <a:pt x="84" y="177"/>
                  <a:pt x="84" y="177"/>
                </a:cubicBezTo>
                <a:cubicBezTo>
                  <a:pt x="83" y="175"/>
                  <a:pt x="84" y="173"/>
                  <a:pt x="84" y="171"/>
                </a:cubicBezTo>
                <a:cubicBezTo>
                  <a:pt x="84" y="171"/>
                  <a:pt x="84" y="170"/>
                  <a:pt x="84" y="169"/>
                </a:cubicBezTo>
                <a:cubicBezTo>
                  <a:pt x="84" y="169"/>
                  <a:pt x="84" y="169"/>
                  <a:pt x="84" y="168"/>
                </a:cubicBezTo>
                <a:cubicBezTo>
                  <a:pt x="84" y="168"/>
                  <a:pt x="84" y="167"/>
                  <a:pt x="85" y="167"/>
                </a:cubicBezTo>
                <a:cubicBezTo>
                  <a:pt x="85" y="166"/>
                  <a:pt x="84" y="166"/>
                  <a:pt x="85" y="165"/>
                </a:cubicBezTo>
                <a:cubicBezTo>
                  <a:pt x="85" y="164"/>
                  <a:pt x="85" y="163"/>
                  <a:pt x="86" y="162"/>
                </a:cubicBezTo>
                <a:cubicBezTo>
                  <a:pt x="86" y="161"/>
                  <a:pt x="86" y="161"/>
                  <a:pt x="86" y="160"/>
                </a:cubicBezTo>
                <a:cubicBezTo>
                  <a:pt x="86" y="159"/>
                  <a:pt x="86" y="158"/>
                  <a:pt x="87" y="158"/>
                </a:cubicBezTo>
                <a:cubicBezTo>
                  <a:pt x="87" y="157"/>
                  <a:pt x="87" y="157"/>
                  <a:pt x="87" y="157"/>
                </a:cubicBezTo>
                <a:cubicBezTo>
                  <a:pt x="87" y="155"/>
                  <a:pt x="88" y="154"/>
                  <a:pt x="88" y="153"/>
                </a:cubicBezTo>
                <a:cubicBezTo>
                  <a:pt x="89" y="153"/>
                  <a:pt x="89" y="152"/>
                  <a:pt x="89" y="152"/>
                </a:cubicBezTo>
                <a:cubicBezTo>
                  <a:pt x="89" y="152"/>
                  <a:pt x="90" y="151"/>
                  <a:pt x="90" y="151"/>
                </a:cubicBezTo>
                <a:cubicBezTo>
                  <a:pt x="90" y="150"/>
                  <a:pt x="90" y="149"/>
                  <a:pt x="90" y="149"/>
                </a:cubicBezTo>
                <a:cubicBezTo>
                  <a:pt x="90" y="148"/>
                  <a:pt x="92" y="147"/>
                  <a:pt x="92" y="147"/>
                </a:cubicBezTo>
                <a:cubicBezTo>
                  <a:pt x="93" y="146"/>
                  <a:pt x="95" y="145"/>
                  <a:pt x="97" y="145"/>
                </a:cubicBezTo>
                <a:cubicBezTo>
                  <a:pt x="99" y="144"/>
                  <a:pt x="99" y="147"/>
                  <a:pt x="101" y="146"/>
                </a:cubicBezTo>
                <a:cubicBezTo>
                  <a:pt x="102" y="146"/>
                  <a:pt x="102" y="145"/>
                  <a:pt x="102" y="145"/>
                </a:cubicBezTo>
                <a:cubicBezTo>
                  <a:pt x="102" y="144"/>
                  <a:pt x="101" y="142"/>
                  <a:pt x="100" y="141"/>
                </a:cubicBezTo>
                <a:cubicBezTo>
                  <a:pt x="99" y="141"/>
                  <a:pt x="98" y="141"/>
                  <a:pt x="97" y="141"/>
                </a:cubicBezTo>
                <a:cubicBezTo>
                  <a:pt x="97" y="140"/>
                  <a:pt x="97" y="140"/>
                  <a:pt x="97" y="140"/>
                </a:cubicBezTo>
                <a:cubicBezTo>
                  <a:pt x="96" y="140"/>
                  <a:pt x="94" y="140"/>
                  <a:pt x="94" y="141"/>
                </a:cubicBezTo>
                <a:cubicBezTo>
                  <a:pt x="94" y="141"/>
                  <a:pt x="94" y="141"/>
                  <a:pt x="94" y="141"/>
                </a:cubicBezTo>
                <a:cubicBezTo>
                  <a:pt x="94" y="139"/>
                  <a:pt x="95" y="138"/>
                  <a:pt x="96" y="137"/>
                </a:cubicBezTo>
                <a:cubicBezTo>
                  <a:pt x="96" y="137"/>
                  <a:pt x="96" y="136"/>
                  <a:pt x="97" y="136"/>
                </a:cubicBezTo>
                <a:cubicBezTo>
                  <a:pt x="97" y="136"/>
                  <a:pt x="96" y="135"/>
                  <a:pt x="97" y="135"/>
                </a:cubicBezTo>
                <a:cubicBezTo>
                  <a:pt x="97" y="134"/>
                  <a:pt x="98" y="133"/>
                  <a:pt x="98" y="132"/>
                </a:cubicBezTo>
                <a:cubicBezTo>
                  <a:pt x="98" y="132"/>
                  <a:pt x="98" y="132"/>
                  <a:pt x="98" y="131"/>
                </a:cubicBezTo>
                <a:cubicBezTo>
                  <a:pt x="98" y="131"/>
                  <a:pt x="99" y="130"/>
                  <a:pt x="99" y="130"/>
                </a:cubicBezTo>
                <a:cubicBezTo>
                  <a:pt x="100" y="128"/>
                  <a:pt x="98" y="128"/>
                  <a:pt x="98" y="127"/>
                </a:cubicBezTo>
                <a:cubicBezTo>
                  <a:pt x="99" y="127"/>
                  <a:pt x="100" y="127"/>
                  <a:pt x="100" y="127"/>
                </a:cubicBezTo>
                <a:cubicBezTo>
                  <a:pt x="101" y="127"/>
                  <a:pt x="102" y="127"/>
                  <a:pt x="102" y="127"/>
                </a:cubicBezTo>
                <a:cubicBezTo>
                  <a:pt x="103" y="127"/>
                  <a:pt x="103" y="128"/>
                  <a:pt x="104" y="128"/>
                </a:cubicBezTo>
                <a:cubicBezTo>
                  <a:pt x="104" y="128"/>
                  <a:pt x="105" y="128"/>
                  <a:pt x="105" y="128"/>
                </a:cubicBezTo>
                <a:cubicBezTo>
                  <a:pt x="106" y="128"/>
                  <a:pt x="106" y="128"/>
                  <a:pt x="107" y="128"/>
                </a:cubicBezTo>
                <a:cubicBezTo>
                  <a:pt x="107" y="128"/>
                  <a:pt x="108" y="128"/>
                  <a:pt x="108" y="128"/>
                </a:cubicBezTo>
                <a:cubicBezTo>
                  <a:pt x="109" y="129"/>
                  <a:pt x="109" y="129"/>
                  <a:pt x="110" y="129"/>
                </a:cubicBezTo>
                <a:cubicBezTo>
                  <a:pt x="110" y="129"/>
                  <a:pt x="111" y="129"/>
                  <a:pt x="111" y="129"/>
                </a:cubicBezTo>
                <a:cubicBezTo>
                  <a:pt x="112" y="129"/>
                  <a:pt x="114" y="131"/>
                  <a:pt x="114" y="131"/>
                </a:cubicBezTo>
                <a:cubicBezTo>
                  <a:pt x="114" y="133"/>
                  <a:pt x="113" y="134"/>
                  <a:pt x="113" y="135"/>
                </a:cubicBezTo>
                <a:close/>
                <a:moveTo>
                  <a:pt x="88" y="130"/>
                </a:moveTo>
                <a:cubicBezTo>
                  <a:pt x="88" y="130"/>
                  <a:pt x="88" y="130"/>
                  <a:pt x="88" y="130"/>
                </a:cubicBezTo>
                <a:cubicBezTo>
                  <a:pt x="88" y="130"/>
                  <a:pt x="89" y="130"/>
                  <a:pt x="89" y="129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0"/>
                  <a:pt x="90" y="130"/>
                </a:cubicBezTo>
                <a:cubicBezTo>
                  <a:pt x="90" y="130"/>
                  <a:pt x="90" y="130"/>
                  <a:pt x="90" y="130"/>
                </a:cubicBezTo>
                <a:cubicBezTo>
                  <a:pt x="90" y="130"/>
                  <a:pt x="88" y="131"/>
                  <a:pt x="88" y="130"/>
                </a:cubicBezTo>
                <a:close/>
                <a:moveTo>
                  <a:pt x="153" y="121"/>
                </a:moveTo>
                <a:cubicBezTo>
                  <a:pt x="153" y="122"/>
                  <a:pt x="151" y="122"/>
                  <a:pt x="150" y="122"/>
                </a:cubicBezTo>
                <a:cubicBezTo>
                  <a:pt x="150" y="122"/>
                  <a:pt x="150" y="122"/>
                  <a:pt x="150" y="122"/>
                </a:cubicBezTo>
                <a:cubicBezTo>
                  <a:pt x="150" y="122"/>
                  <a:pt x="150" y="122"/>
                  <a:pt x="150" y="122"/>
                </a:cubicBezTo>
                <a:cubicBezTo>
                  <a:pt x="150" y="122"/>
                  <a:pt x="150" y="122"/>
                  <a:pt x="151" y="122"/>
                </a:cubicBezTo>
                <a:cubicBezTo>
                  <a:pt x="151" y="122"/>
                  <a:pt x="151" y="122"/>
                  <a:pt x="151" y="121"/>
                </a:cubicBezTo>
                <a:cubicBezTo>
                  <a:pt x="152" y="121"/>
                  <a:pt x="152" y="121"/>
                  <a:pt x="153" y="121"/>
                </a:cubicBezTo>
                <a:cubicBezTo>
                  <a:pt x="153" y="121"/>
                  <a:pt x="153" y="121"/>
                  <a:pt x="153" y="121"/>
                </a:cubicBezTo>
                <a:close/>
                <a:moveTo>
                  <a:pt x="162" y="126"/>
                </a:moveTo>
                <a:cubicBezTo>
                  <a:pt x="161" y="127"/>
                  <a:pt x="160" y="127"/>
                  <a:pt x="160" y="127"/>
                </a:cubicBezTo>
                <a:cubicBezTo>
                  <a:pt x="159" y="127"/>
                  <a:pt x="157" y="128"/>
                  <a:pt x="156" y="128"/>
                </a:cubicBezTo>
                <a:cubicBezTo>
                  <a:pt x="156" y="128"/>
                  <a:pt x="155" y="128"/>
                  <a:pt x="154" y="128"/>
                </a:cubicBezTo>
                <a:cubicBezTo>
                  <a:pt x="154" y="128"/>
                  <a:pt x="154" y="128"/>
                  <a:pt x="154" y="128"/>
                </a:cubicBezTo>
                <a:cubicBezTo>
                  <a:pt x="154" y="128"/>
                  <a:pt x="154" y="128"/>
                  <a:pt x="154" y="128"/>
                </a:cubicBezTo>
                <a:cubicBezTo>
                  <a:pt x="155" y="128"/>
                  <a:pt x="156" y="127"/>
                  <a:pt x="157" y="127"/>
                </a:cubicBezTo>
                <a:cubicBezTo>
                  <a:pt x="159" y="126"/>
                  <a:pt x="160" y="126"/>
                  <a:pt x="161" y="126"/>
                </a:cubicBezTo>
                <a:cubicBezTo>
                  <a:pt x="161" y="126"/>
                  <a:pt x="161" y="126"/>
                  <a:pt x="161" y="126"/>
                </a:cubicBezTo>
                <a:cubicBezTo>
                  <a:pt x="162" y="126"/>
                  <a:pt x="162" y="126"/>
                  <a:pt x="162" y="126"/>
                </a:cubicBezTo>
                <a:close/>
                <a:moveTo>
                  <a:pt x="170" y="110"/>
                </a:moveTo>
                <a:cubicBezTo>
                  <a:pt x="170" y="111"/>
                  <a:pt x="170" y="111"/>
                  <a:pt x="169" y="112"/>
                </a:cubicBezTo>
                <a:cubicBezTo>
                  <a:pt x="169" y="112"/>
                  <a:pt x="169" y="113"/>
                  <a:pt x="169" y="113"/>
                </a:cubicBezTo>
                <a:cubicBezTo>
                  <a:pt x="169" y="113"/>
                  <a:pt x="168" y="114"/>
                  <a:pt x="168" y="114"/>
                </a:cubicBezTo>
                <a:cubicBezTo>
                  <a:pt x="168" y="114"/>
                  <a:pt x="168" y="114"/>
                  <a:pt x="168" y="115"/>
                </a:cubicBezTo>
                <a:cubicBezTo>
                  <a:pt x="168" y="115"/>
                  <a:pt x="168" y="116"/>
                  <a:pt x="168" y="116"/>
                </a:cubicBezTo>
                <a:cubicBezTo>
                  <a:pt x="167" y="117"/>
                  <a:pt x="167" y="117"/>
                  <a:pt x="166" y="118"/>
                </a:cubicBezTo>
                <a:cubicBezTo>
                  <a:pt x="166" y="118"/>
                  <a:pt x="166" y="118"/>
                  <a:pt x="166" y="118"/>
                </a:cubicBezTo>
                <a:cubicBezTo>
                  <a:pt x="166" y="118"/>
                  <a:pt x="166" y="119"/>
                  <a:pt x="165" y="119"/>
                </a:cubicBezTo>
                <a:cubicBezTo>
                  <a:pt x="165" y="119"/>
                  <a:pt x="164" y="119"/>
                  <a:pt x="164" y="120"/>
                </a:cubicBezTo>
                <a:cubicBezTo>
                  <a:pt x="164" y="120"/>
                  <a:pt x="163" y="120"/>
                  <a:pt x="163" y="120"/>
                </a:cubicBezTo>
                <a:cubicBezTo>
                  <a:pt x="162" y="120"/>
                  <a:pt x="162" y="121"/>
                  <a:pt x="161" y="121"/>
                </a:cubicBezTo>
                <a:cubicBezTo>
                  <a:pt x="161" y="121"/>
                  <a:pt x="161" y="121"/>
                  <a:pt x="161" y="121"/>
                </a:cubicBezTo>
                <a:cubicBezTo>
                  <a:pt x="161" y="120"/>
                  <a:pt x="161" y="120"/>
                  <a:pt x="162" y="120"/>
                </a:cubicBezTo>
                <a:cubicBezTo>
                  <a:pt x="162" y="120"/>
                  <a:pt x="163" y="119"/>
                  <a:pt x="163" y="119"/>
                </a:cubicBezTo>
                <a:cubicBezTo>
                  <a:pt x="163" y="118"/>
                  <a:pt x="163" y="118"/>
                  <a:pt x="164" y="117"/>
                </a:cubicBezTo>
                <a:cubicBezTo>
                  <a:pt x="164" y="117"/>
                  <a:pt x="164" y="116"/>
                  <a:pt x="164" y="116"/>
                </a:cubicBezTo>
                <a:cubicBezTo>
                  <a:pt x="164" y="116"/>
                  <a:pt x="164" y="115"/>
                  <a:pt x="164" y="115"/>
                </a:cubicBezTo>
                <a:cubicBezTo>
                  <a:pt x="164" y="114"/>
                  <a:pt x="164" y="114"/>
                  <a:pt x="165" y="114"/>
                </a:cubicBezTo>
                <a:cubicBezTo>
                  <a:pt x="165" y="113"/>
                  <a:pt x="165" y="113"/>
                  <a:pt x="165" y="113"/>
                </a:cubicBezTo>
                <a:cubicBezTo>
                  <a:pt x="165" y="113"/>
                  <a:pt x="165" y="113"/>
                  <a:pt x="165" y="112"/>
                </a:cubicBezTo>
                <a:cubicBezTo>
                  <a:pt x="165" y="112"/>
                  <a:pt x="165" y="110"/>
                  <a:pt x="165" y="109"/>
                </a:cubicBezTo>
                <a:cubicBezTo>
                  <a:pt x="165" y="109"/>
                  <a:pt x="165" y="109"/>
                  <a:pt x="165" y="109"/>
                </a:cubicBezTo>
                <a:cubicBezTo>
                  <a:pt x="165" y="109"/>
                  <a:pt x="166" y="109"/>
                  <a:pt x="166" y="109"/>
                </a:cubicBezTo>
                <a:cubicBezTo>
                  <a:pt x="167" y="109"/>
                  <a:pt x="168" y="109"/>
                  <a:pt x="168" y="109"/>
                </a:cubicBezTo>
                <a:cubicBezTo>
                  <a:pt x="169" y="109"/>
                  <a:pt x="169" y="109"/>
                  <a:pt x="170" y="109"/>
                </a:cubicBezTo>
                <a:cubicBezTo>
                  <a:pt x="170" y="109"/>
                  <a:pt x="170" y="109"/>
                  <a:pt x="170" y="109"/>
                </a:cubicBezTo>
                <a:cubicBezTo>
                  <a:pt x="171" y="109"/>
                  <a:pt x="170" y="110"/>
                  <a:pt x="170" y="110"/>
                </a:cubicBezTo>
                <a:close/>
                <a:moveTo>
                  <a:pt x="180" y="102"/>
                </a:moveTo>
                <a:cubicBezTo>
                  <a:pt x="179" y="102"/>
                  <a:pt x="179" y="102"/>
                  <a:pt x="179" y="103"/>
                </a:cubicBezTo>
                <a:cubicBezTo>
                  <a:pt x="178" y="103"/>
                  <a:pt x="177" y="102"/>
                  <a:pt x="176" y="103"/>
                </a:cubicBezTo>
                <a:cubicBezTo>
                  <a:pt x="175" y="103"/>
                  <a:pt x="175" y="103"/>
                  <a:pt x="174" y="103"/>
                </a:cubicBezTo>
                <a:cubicBezTo>
                  <a:pt x="173" y="103"/>
                  <a:pt x="173" y="103"/>
                  <a:pt x="172" y="103"/>
                </a:cubicBezTo>
                <a:cubicBezTo>
                  <a:pt x="172" y="103"/>
                  <a:pt x="171" y="104"/>
                  <a:pt x="171" y="104"/>
                </a:cubicBezTo>
                <a:cubicBezTo>
                  <a:pt x="170" y="104"/>
                  <a:pt x="167" y="104"/>
                  <a:pt x="166" y="104"/>
                </a:cubicBezTo>
                <a:cubicBezTo>
                  <a:pt x="166" y="104"/>
                  <a:pt x="166" y="104"/>
                  <a:pt x="166" y="104"/>
                </a:cubicBezTo>
                <a:cubicBezTo>
                  <a:pt x="166" y="103"/>
                  <a:pt x="166" y="102"/>
                  <a:pt x="167" y="102"/>
                </a:cubicBezTo>
                <a:cubicBezTo>
                  <a:pt x="167" y="101"/>
                  <a:pt x="166" y="101"/>
                  <a:pt x="166" y="100"/>
                </a:cubicBezTo>
                <a:cubicBezTo>
                  <a:pt x="167" y="100"/>
                  <a:pt x="167" y="100"/>
                  <a:pt x="167" y="99"/>
                </a:cubicBezTo>
                <a:cubicBezTo>
                  <a:pt x="167" y="99"/>
                  <a:pt x="166" y="98"/>
                  <a:pt x="167" y="98"/>
                </a:cubicBezTo>
                <a:cubicBezTo>
                  <a:pt x="167" y="97"/>
                  <a:pt x="168" y="97"/>
                  <a:pt x="169" y="97"/>
                </a:cubicBezTo>
                <a:cubicBezTo>
                  <a:pt x="169" y="97"/>
                  <a:pt x="169" y="96"/>
                  <a:pt x="170" y="96"/>
                </a:cubicBezTo>
                <a:cubicBezTo>
                  <a:pt x="171" y="96"/>
                  <a:pt x="172" y="96"/>
                  <a:pt x="173" y="95"/>
                </a:cubicBezTo>
                <a:cubicBezTo>
                  <a:pt x="174" y="95"/>
                  <a:pt x="175" y="97"/>
                  <a:pt x="176" y="98"/>
                </a:cubicBezTo>
                <a:cubicBezTo>
                  <a:pt x="176" y="98"/>
                  <a:pt x="176" y="98"/>
                  <a:pt x="176" y="98"/>
                </a:cubicBezTo>
                <a:cubicBezTo>
                  <a:pt x="178" y="99"/>
                  <a:pt x="180" y="100"/>
                  <a:pt x="182" y="101"/>
                </a:cubicBezTo>
                <a:cubicBezTo>
                  <a:pt x="182" y="101"/>
                  <a:pt x="182" y="101"/>
                  <a:pt x="182" y="101"/>
                </a:cubicBezTo>
                <a:cubicBezTo>
                  <a:pt x="182" y="102"/>
                  <a:pt x="180" y="102"/>
                  <a:pt x="180" y="102"/>
                </a:cubicBezTo>
                <a:close/>
                <a:moveTo>
                  <a:pt x="203" y="79"/>
                </a:moveTo>
                <a:cubicBezTo>
                  <a:pt x="203" y="79"/>
                  <a:pt x="203" y="79"/>
                  <a:pt x="203" y="79"/>
                </a:cubicBezTo>
                <a:cubicBezTo>
                  <a:pt x="203" y="79"/>
                  <a:pt x="203" y="79"/>
                  <a:pt x="203" y="79"/>
                </a:cubicBezTo>
                <a:cubicBezTo>
                  <a:pt x="203" y="78"/>
                  <a:pt x="203" y="77"/>
                  <a:pt x="203" y="76"/>
                </a:cubicBezTo>
                <a:cubicBezTo>
                  <a:pt x="203" y="75"/>
                  <a:pt x="203" y="75"/>
                  <a:pt x="203" y="75"/>
                </a:cubicBezTo>
                <a:cubicBezTo>
                  <a:pt x="203" y="75"/>
                  <a:pt x="203" y="74"/>
                  <a:pt x="203" y="74"/>
                </a:cubicBezTo>
                <a:cubicBezTo>
                  <a:pt x="203" y="73"/>
                  <a:pt x="203" y="73"/>
                  <a:pt x="202" y="73"/>
                </a:cubicBezTo>
                <a:cubicBezTo>
                  <a:pt x="200" y="73"/>
                  <a:pt x="201" y="75"/>
                  <a:pt x="200" y="76"/>
                </a:cubicBezTo>
                <a:cubicBezTo>
                  <a:pt x="200" y="77"/>
                  <a:pt x="199" y="79"/>
                  <a:pt x="200" y="80"/>
                </a:cubicBezTo>
                <a:cubicBezTo>
                  <a:pt x="200" y="81"/>
                  <a:pt x="200" y="82"/>
                  <a:pt x="200" y="82"/>
                </a:cubicBezTo>
                <a:cubicBezTo>
                  <a:pt x="200" y="84"/>
                  <a:pt x="201" y="84"/>
                  <a:pt x="201" y="86"/>
                </a:cubicBezTo>
                <a:cubicBezTo>
                  <a:pt x="201" y="87"/>
                  <a:pt x="201" y="88"/>
                  <a:pt x="200" y="89"/>
                </a:cubicBezTo>
                <a:cubicBezTo>
                  <a:pt x="200" y="90"/>
                  <a:pt x="199" y="90"/>
                  <a:pt x="199" y="91"/>
                </a:cubicBezTo>
                <a:cubicBezTo>
                  <a:pt x="198" y="91"/>
                  <a:pt x="198" y="92"/>
                  <a:pt x="197" y="92"/>
                </a:cubicBezTo>
                <a:cubicBezTo>
                  <a:pt x="197" y="93"/>
                  <a:pt x="196" y="93"/>
                  <a:pt x="196" y="93"/>
                </a:cubicBezTo>
                <a:cubicBezTo>
                  <a:pt x="195" y="94"/>
                  <a:pt x="195" y="95"/>
                  <a:pt x="194" y="96"/>
                </a:cubicBezTo>
                <a:cubicBezTo>
                  <a:pt x="193" y="97"/>
                  <a:pt x="191" y="98"/>
                  <a:pt x="190" y="98"/>
                </a:cubicBezTo>
                <a:cubicBezTo>
                  <a:pt x="189" y="99"/>
                  <a:pt x="188" y="98"/>
                  <a:pt x="187" y="98"/>
                </a:cubicBezTo>
                <a:cubicBezTo>
                  <a:pt x="185" y="98"/>
                  <a:pt x="184" y="98"/>
                  <a:pt x="183" y="97"/>
                </a:cubicBezTo>
                <a:cubicBezTo>
                  <a:pt x="182" y="97"/>
                  <a:pt x="181" y="96"/>
                  <a:pt x="180" y="96"/>
                </a:cubicBezTo>
                <a:cubicBezTo>
                  <a:pt x="179" y="95"/>
                  <a:pt x="178" y="94"/>
                  <a:pt x="177" y="93"/>
                </a:cubicBezTo>
                <a:cubicBezTo>
                  <a:pt x="177" y="93"/>
                  <a:pt x="177" y="92"/>
                  <a:pt x="177" y="92"/>
                </a:cubicBezTo>
                <a:cubicBezTo>
                  <a:pt x="176" y="92"/>
                  <a:pt x="176" y="92"/>
                  <a:pt x="176" y="91"/>
                </a:cubicBezTo>
                <a:cubicBezTo>
                  <a:pt x="176" y="91"/>
                  <a:pt x="176" y="91"/>
                  <a:pt x="175" y="91"/>
                </a:cubicBezTo>
                <a:cubicBezTo>
                  <a:pt x="175" y="90"/>
                  <a:pt x="174" y="90"/>
                  <a:pt x="174" y="90"/>
                </a:cubicBezTo>
                <a:cubicBezTo>
                  <a:pt x="174" y="90"/>
                  <a:pt x="173" y="89"/>
                  <a:pt x="173" y="89"/>
                </a:cubicBezTo>
                <a:cubicBezTo>
                  <a:pt x="172" y="89"/>
                  <a:pt x="171" y="89"/>
                  <a:pt x="170" y="89"/>
                </a:cubicBezTo>
                <a:cubicBezTo>
                  <a:pt x="170" y="89"/>
                  <a:pt x="169" y="89"/>
                  <a:pt x="169" y="89"/>
                </a:cubicBezTo>
                <a:cubicBezTo>
                  <a:pt x="169" y="89"/>
                  <a:pt x="169" y="89"/>
                  <a:pt x="169" y="89"/>
                </a:cubicBezTo>
                <a:cubicBezTo>
                  <a:pt x="168" y="89"/>
                  <a:pt x="168" y="89"/>
                  <a:pt x="168" y="89"/>
                </a:cubicBezTo>
                <a:cubicBezTo>
                  <a:pt x="166" y="88"/>
                  <a:pt x="165" y="87"/>
                  <a:pt x="164" y="86"/>
                </a:cubicBezTo>
                <a:cubicBezTo>
                  <a:pt x="164" y="86"/>
                  <a:pt x="163" y="86"/>
                  <a:pt x="163" y="86"/>
                </a:cubicBezTo>
                <a:cubicBezTo>
                  <a:pt x="161" y="86"/>
                  <a:pt x="160" y="84"/>
                  <a:pt x="159" y="83"/>
                </a:cubicBezTo>
                <a:cubicBezTo>
                  <a:pt x="158" y="82"/>
                  <a:pt x="157" y="82"/>
                  <a:pt x="157" y="81"/>
                </a:cubicBezTo>
                <a:cubicBezTo>
                  <a:pt x="156" y="80"/>
                  <a:pt x="156" y="80"/>
                  <a:pt x="156" y="79"/>
                </a:cubicBezTo>
                <a:cubicBezTo>
                  <a:pt x="155" y="78"/>
                  <a:pt x="155" y="78"/>
                  <a:pt x="154" y="77"/>
                </a:cubicBezTo>
                <a:cubicBezTo>
                  <a:pt x="154" y="77"/>
                  <a:pt x="155" y="76"/>
                  <a:pt x="155" y="76"/>
                </a:cubicBezTo>
                <a:cubicBezTo>
                  <a:pt x="154" y="74"/>
                  <a:pt x="154" y="73"/>
                  <a:pt x="155" y="71"/>
                </a:cubicBezTo>
                <a:cubicBezTo>
                  <a:pt x="155" y="71"/>
                  <a:pt x="157" y="69"/>
                  <a:pt x="157" y="68"/>
                </a:cubicBezTo>
                <a:cubicBezTo>
                  <a:pt x="158" y="68"/>
                  <a:pt x="158" y="68"/>
                  <a:pt x="158" y="67"/>
                </a:cubicBezTo>
                <a:cubicBezTo>
                  <a:pt x="159" y="66"/>
                  <a:pt x="161" y="65"/>
                  <a:pt x="162" y="64"/>
                </a:cubicBezTo>
                <a:cubicBezTo>
                  <a:pt x="162" y="63"/>
                  <a:pt x="163" y="63"/>
                  <a:pt x="163" y="63"/>
                </a:cubicBezTo>
                <a:cubicBezTo>
                  <a:pt x="163" y="62"/>
                  <a:pt x="164" y="62"/>
                  <a:pt x="164" y="62"/>
                </a:cubicBezTo>
                <a:cubicBezTo>
                  <a:pt x="165" y="62"/>
                  <a:pt x="166" y="61"/>
                  <a:pt x="166" y="60"/>
                </a:cubicBezTo>
                <a:cubicBezTo>
                  <a:pt x="166" y="60"/>
                  <a:pt x="166" y="59"/>
                  <a:pt x="166" y="59"/>
                </a:cubicBezTo>
                <a:cubicBezTo>
                  <a:pt x="166" y="59"/>
                  <a:pt x="166" y="58"/>
                  <a:pt x="166" y="58"/>
                </a:cubicBezTo>
                <a:cubicBezTo>
                  <a:pt x="161" y="59"/>
                  <a:pt x="157" y="62"/>
                  <a:pt x="154" y="65"/>
                </a:cubicBezTo>
                <a:cubicBezTo>
                  <a:pt x="154" y="65"/>
                  <a:pt x="153" y="66"/>
                  <a:pt x="152" y="67"/>
                </a:cubicBezTo>
                <a:cubicBezTo>
                  <a:pt x="152" y="67"/>
                  <a:pt x="151" y="67"/>
                  <a:pt x="150" y="67"/>
                </a:cubicBezTo>
                <a:cubicBezTo>
                  <a:pt x="149" y="68"/>
                  <a:pt x="148" y="68"/>
                  <a:pt x="147" y="69"/>
                </a:cubicBezTo>
                <a:cubicBezTo>
                  <a:pt x="146" y="69"/>
                  <a:pt x="146" y="68"/>
                  <a:pt x="145" y="68"/>
                </a:cubicBezTo>
                <a:cubicBezTo>
                  <a:pt x="145" y="68"/>
                  <a:pt x="144" y="69"/>
                  <a:pt x="143" y="68"/>
                </a:cubicBezTo>
                <a:cubicBezTo>
                  <a:pt x="143" y="68"/>
                  <a:pt x="143" y="68"/>
                  <a:pt x="142" y="68"/>
                </a:cubicBezTo>
                <a:cubicBezTo>
                  <a:pt x="142" y="68"/>
                  <a:pt x="141" y="68"/>
                  <a:pt x="141" y="68"/>
                </a:cubicBezTo>
                <a:cubicBezTo>
                  <a:pt x="140" y="67"/>
                  <a:pt x="138" y="66"/>
                  <a:pt x="138" y="65"/>
                </a:cubicBezTo>
                <a:cubicBezTo>
                  <a:pt x="138" y="65"/>
                  <a:pt x="138" y="64"/>
                  <a:pt x="138" y="64"/>
                </a:cubicBezTo>
                <a:cubicBezTo>
                  <a:pt x="137" y="63"/>
                  <a:pt x="137" y="61"/>
                  <a:pt x="137" y="60"/>
                </a:cubicBezTo>
                <a:cubicBezTo>
                  <a:pt x="137" y="59"/>
                  <a:pt x="137" y="59"/>
                  <a:pt x="137" y="58"/>
                </a:cubicBezTo>
                <a:cubicBezTo>
                  <a:pt x="137" y="58"/>
                  <a:pt x="137" y="57"/>
                  <a:pt x="137" y="57"/>
                </a:cubicBezTo>
                <a:cubicBezTo>
                  <a:pt x="137" y="56"/>
                  <a:pt x="138" y="55"/>
                  <a:pt x="138" y="53"/>
                </a:cubicBezTo>
                <a:cubicBezTo>
                  <a:pt x="138" y="52"/>
                  <a:pt x="138" y="52"/>
                  <a:pt x="138" y="51"/>
                </a:cubicBezTo>
                <a:cubicBezTo>
                  <a:pt x="137" y="50"/>
                  <a:pt x="137" y="46"/>
                  <a:pt x="137" y="45"/>
                </a:cubicBezTo>
                <a:cubicBezTo>
                  <a:pt x="138" y="43"/>
                  <a:pt x="139" y="42"/>
                  <a:pt x="140" y="41"/>
                </a:cubicBezTo>
                <a:cubicBezTo>
                  <a:pt x="140" y="41"/>
                  <a:pt x="141" y="41"/>
                  <a:pt x="141" y="40"/>
                </a:cubicBezTo>
                <a:cubicBezTo>
                  <a:pt x="142" y="40"/>
                  <a:pt x="142" y="40"/>
                  <a:pt x="142" y="39"/>
                </a:cubicBezTo>
                <a:cubicBezTo>
                  <a:pt x="142" y="38"/>
                  <a:pt x="141" y="37"/>
                  <a:pt x="140" y="38"/>
                </a:cubicBezTo>
                <a:cubicBezTo>
                  <a:pt x="140" y="38"/>
                  <a:pt x="140" y="38"/>
                  <a:pt x="139" y="38"/>
                </a:cubicBezTo>
                <a:cubicBezTo>
                  <a:pt x="138" y="39"/>
                  <a:pt x="137" y="40"/>
                  <a:pt x="136" y="41"/>
                </a:cubicBezTo>
                <a:cubicBezTo>
                  <a:pt x="135" y="41"/>
                  <a:pt x="135" y="42"/>
                  <a:pt x="134" y="42"/>
                </a:cubicBezTo>
                <a:cubicBezTo>
                  <a:pt x="134" y="43"/>
                  <a:pt x="133" y="43"/>
                  <a:pt x="133" y="43"/>
                </a:cubicBezTo>
                <a:cubicBezTo>
                  <a:pt x="132" y="44"/>
                  <a:pt x="132" y="45"/>
                  <a:pt x="132" y="46"/>
                </a:cubicBezTo>
                <a:cubicBezTo>
                  <a:pt x="132" y="47"/>
                  <a:pt x="132" y="47"/>
                  <a:pt x="132" y="47"/>
                </a:cubicBezTo>
                <a:cubicBezTo>
                  <a:pt x="132" y="47"/>
                  <a:pt x="131" y="48"/>
                  <a:pt x="131" y="49"/>
                </a:cubicBezTo>
                <a:cubicBezTo>
                  <a:pt x="131" y="51"/>
                  <a:pt x="131" y="52"/>
                  <a:pt x="131" y="54"/>
                </a:cubicBezTo>
                <a:cubicBezTo>
                  <a:pt x="131" y="54"/>
                  <a:pt x="130" y="55"/>
                  <a:pt x="130" y="56"/>
                </a:cubicBezTo>
                <a:cubicBezTo>
                  <a:pt x="130" y="57"/>
                  <a:pt x="130" y="57"/>
                  <a:pt x="130" y="58"/>
                </a:cubicBezTo>
                <a:cubicBezTo>
                  <a:pt x="130" y="60"/>
                  <a:pt x="128" y="63"/>
                  <a:pt x="126" y="63"/>
                </a:cubicBezTo>
                <a:cubicBezTo>
                  <a:pt x="125" y="64"/>
                  <a:pt x="125" y="64"/>
                  <a:pt x="125" y="64"/>
                </a:cubicBezTo>
                <a:cubicBezTo>
                  <a:pt x="123" y="64"/>
                  <a:pt x="122" y="64"/>
                  <a:pt x="121" y="65"/>
                </a:cubicBezTo>
                <a:cubicBezTo>
                  <a:pt x="121" y="65"/>
                  <a:pt x="120" y="65"/>
                  <a:pt x="120" y="65"/>
                </a:cubicBezTo>
                <a:cubicBezTo>
                  <a:pt x="119" y="65"/>
                  <a:pt x="119" y="65"/>
                  <a:pt x="118" y="65"/>
                </a:cubicBezTo>
                <a:cubicBezTo>
                  <a:pt x="118" y="65"/>
                  <a:pt x="117" y="65"/>
                  <a:pt x="117" y="65"/>
                </a:cubicBezTo>
                <a:cubicBezTo>
                  <a:pt x="117" y="65"/>
                  <a:pt x="117" y="65"/>
                  <a:pt x="116" y="65"/>
                </a:cubicBezTo>
                <a:cubicBezTo>
                  <a:pt x="116" y="64"/>
                  <a:pt x="115" y="65"/>
                  <a:pt x="115" y="65"/>
                </a:cubicBezTo>
                <a:cubicBezTo>
                  <a:pt x="115" y="65"/>
                  <a:pt x="114" y="64"/>
                  <a:pt x="114" y="64"/>
                </a:cubicBezTo>
                <a:cubicBezTo>
                  <a:pt x="114" y="64"/>
                  <a:pt x="114" y="64"/>
                  <a:pt x="113" y="64"/>
                </a:cubicBezTo>
                <a:cubicBezTo>
                  <a:pt x="113" y="64"/>
                  <a:pt x="113" y="64"/>
                  <a:pt x="113" y="63"/>
                </a:cubicBezTo>
                <a:cubicBezTo>
                  <a:pt x="113" y="63"/>
                  <a:pt x="112" y="63"/>
                  <a:pt x="112" y="63"/>
                </a:cubicBezTo>
                <a:cubicBezTo>
                  <a:pt x="112" y="63"/>
                  <a:pt x="111" y="62"/>
                  <a:pt x="111" y="62"/>
                </a:cubicBezTo>
                <a:cubicBezTo>
                  <a:pt x="111" y="61"/>
                  <a:pt x="110" y="61"/>
                  <a:pt x="110" y="61"/>
                </a:cubicBezTo>
                <a:cubicBezTo>
                  <a:pt x="110" y="61"/>
                  <a:pt x="110" y="60"/>
                  <a:pt x="110" y="60"/>
                </a:cubicBezTo>
                <a:cubicBezTo>
                  <a:pt x="110" y="59"/>
                  <a:pt x="110" y="59"/>
                  <a:pt x="109" y="58"/>
                </a:cubicBezTo>
                <a:cubicBezTo>
                  <a:pt x="109" y="58"/>
                  <a:pt x="109" y="58"/>
                  <a:pt x="109" y="57"/>
                </a:cubicBezTo>
                <a:cubicBezTo>
                  <a:pt x="109" y="57"/>
                  <a:pt x="109" y="57"/>
                  <a:pt x="109" y="56"/>
                </a:cubicBezTo>
                <a:cubicBezTo>
                  <a:pt x="109" y="56"/>
                  <a:pt x="109" y="55"/>
                  <a:pt x="109" y="55"/>
                </a:cubicBezTo>
                <a:cubicBezTo>
                  <a:pt x="109" y="55"/>
                  <a:pt x="109" y="55"/>
                  <a:pt x="109" y="54"/>
                </a:cubicBezTo>
                <a:cubicBezTo>
                  <a:pt x="109" y="53"/>
                  <a:pt x="109" y="53"/>
                  <a:pt x="109" y="52"/>
                </a:cubicBezTo>
                <a:cubicBezTo>
                  <a:pt x="108" y="51"/>
                  <a:pt x="108" y="50"/>
                  <a:pt x="107" y="50"/>
                </a:cubicBezTo>
                <a:cubicBezTo>
                  <a:pt x="106" y="50"/>
                  <a:pt x="105" y="52"/>
                  <a:pt x="105" y="53"/>
                </a:cubicBezTo>
                <a:cubicBezTo>
                  <a:pt x="104" y="53"/>
                  <a:pt x="104" y="54"/>
                  <a:pt x="103" y="54"/>
                </a:cubicBezTo>
                <a:cubicBezTo>
                  <a:pt x="103" y="55"/>
                  <a:pt x="103" y="55"/>
                  <a:pt x="103" y="55"/>
                </a:cubicBezTo>
                <a:cubicBezTo>
                  <a:pt x="102" y="56"/>
                  <a:pt x="102" y="56"/>
                  <a:pt x="101" y="56"/>
                </a:cubicBezTo>
                <a:cubicBezTo>
                  <a:pt x="101" y="57"/>
                  <a:pt x="101" y="57"/>
                  <a:pt x="101" y="57"/>
                </a:cubicBezTo>
                <a:cubicBezTo>
                  <a:pt x="101" y="58"/>
                  <a:pt x="100" y="58"/>
                  <a:pt x="100" y="58"/>
                </a:cubicBezTo>
                <a:cubicBezTo>
                  <a:pt x="100" y="59"/>
                  <a:pt x="99" y="59"/>
                  <a:pt x="98" y="60"/>
                </a:cubicBezTo>
                <a:cubicBezTo>
                  <a:pt x="97" y="60"/>
                  <a:pt x="96" y="59"/>
                  <a:pt x="94" y="59"/>
                </a:cubicBezTo>
                <a:cubicBezTo>
                  <a:pt x="94" y="58"/>
                  <a:pt x="93" y="59"/>
                  <a:pt x="93" y="59"/>
                </a:cubicBezTo>
                <a:cubicBezTo>
                  <a:pt x="92" y="59"/>
                  <a:pt x="89" y="58"/>
                  <a:pt x="88" y="58"/>
                </a:cubicBezTo>
                <a:cubicBezTo>
                  <a:pt x="88" y="57"/>
                  <a:pt x="88" y="56"/>
                  <a:pt x="87" y="55"/>
                </a:cubicBezTo>
                <a:cubicBezTo>
                  <a:pt x="87" y="54"/>
                  <a:pt x="87" y="54"/>
                  <a:pt x="86" y="53"/>
                </a:cubicBezTo>
                <a:cubicBezTo>
                  <a:pt x="86" y="53"/>
                  <a:pt x="86" y="53"/>
                  <a:pt x="85" y="53"/>
                </a:cubicBezTo>
                <a:cubicBezTo>
                  <a:pt x="85" y="52"/>
                  <a:pt x="85" y="52"/>
                  <a:pt x="84" y="51"/>
                </a:cubicBezTo>
                <a:cubicBezTo>
                  <a:pt x="84" y="50"/>
                  <a:pt x="84" y="50"/>
                  <a:pt x="83" y="50"/>
                </a:cubicBezTo>
                <a:cubicBezTo>
                  <a:pt x="83" y="50"/>
                  <a:pt x="83" y="50"/>
                  <a:pt x="83" y="50"/>
                </a:cubicBezTo>
                <a:cubicBezTo>
                  <a:pt x="82" y="50"/>
                  <a:pt x="82" y="52"/>
                  <a:pt x="82" y="54"/>
                </a:cubicBezTo>
                <a:cubicBezTo>
                  <a:pt x="82" y="54"/>
                  <a:pt x="83" y="55"/>
                  <a:pt x="83" y="55"/>
                </a:cubicBezTo>
                <a:cubicBezTo>
                  <a:pt x="82" y="56"/>
                  <a:pt x="81" y="56"/>
                  <a:pt x="81" y="56"/>
                </a:cubicBezTo>
                <a:cubicBezTo>
                  <a:pt x="80" y="56"/>
                  <a:pt x="80" y="57"/>
                  <a:pt x="80" y="57"/>
                </a:cubicBezTo>
                <a:cubicBezTo>
                  <a:pt x="80" y="57"/>
                  <a:pt x="79" y="57"/>
                  <a:pt x="79" y="57"/>
                </a:cubicBezTo>
                <a:cubicBezTo>
                  <a:pt x="79" y="57"/>
                  <a:pt x="78" y="57"/>
                  <a:pt x="78" y="57"/>
                </a:cubicBezTo>
                <a:cubicBezTo>
                  <a:pt x="77" y="56"/>
                  <a:pt x="77" y="56"/>
                  <a:pt x="76" y="56"/>
                </a:cubicBezTo>
                <a:cubicBezTo>
                  <a:pt x="75" y="56"/>
                  <a:pt x="75" y="56"/>
                  <a:pt x="74" y="56"/>
                </a:cubicBezTo>
                <a:cubicBezTo>
                  <a:pt x="73" y="56"/>
                  <a:pt x="73" y="55"/>
                  <a:pt x="73" y="55"/>
                </a:cubicBezTo>
                <a:cubicBezTo>
                  <a:pt x="72" y="55"/>
                  <a:pt x="71" y="55"/>
                  <a:pt x="71" y="55"/>
                </a:cubicBezTo>
                <a:cubicBezTo>
                  <a:pt x="70" y="55"/>
                  <a:pt x="70" y="54"/>
                  <a:pt x="69" y="54"/>
                </a:cubicBezTo>
                <a:cubicBezTo>
                  <a:pt x="68" y="54"/>
                  <a:pt x="67" y="54"/>
                  <a:pt x="66" y="54"/>
                </a:cubicBezTo>
                <a:cubicBezTo>
                  <a:pt x="64" y="53"/>
                  <a:pt x="62" y="52"/>
                  <a:pt x="60" y="50"/>
                </a:cubicBezTo>
                <a:cubicBezTo>
                  <a:pt x="59" y="50"/>
                  <a:pt x="58" y="50"/>
                  <a:pt x="58" y="50"/>
                </a:cubicBezTo>
                <a:cubicBezTo>
                  <a:pt x="57" y="49"/>
                  <a:pt x="57" y="49"/>
                  <a:pt x="57" y="49"/>
                </a:cubicBezTo>
                <a:cubicBezTo>
                  <a:pt x="57" y="49"/>
                  <a:pt x="56" y="49"/>
                  <a:pt x="56" y="49"/>
                </a:cubicBezTo>
                <a:cubicBezTo>
                  <a:pt x="56" y="48"/>
                  <a:pt x="56" y="48"/>
                  <a:pt x="55" y="48"/>
                </a:cubicBezTo>
                <a:cubicBezTo>
                  <a:pt x="55" y="47"/>
                  <a:pt x="55" y="47"/>
                  <a:pt x="54" y="47"/>
                </a:cubicBezTo>
                <a:cubicBezTo>
                  <a:pt x="54" y="47"/>
                  <a:pt x="53" y="47"/>
                  <a:pt x="53" y="48"/>
                </a:cubicBezTo>
                <a:cubicBezTo>
                  <a:pt x="53" y="49"/>
                  <a:pt x="53" y="50"/>
                  <a:pt x="54" y="51"/>
                </a:cubicBezTo>
                <a:cubicBezTo>
                  <a:pt x="55" y="53"/>
                  <a:pt x="57" y="55"/>
                  <a:pt x="59" y="57"/>
                </a:cubicBezTo>
                <a:cubicBezTo>
                  <a:pt x="59" y="57"/>
                  <a:pt x="59" y="58"/>
                  <a:pt x="59" y="58"/>
                </a:cubicBezTo>
                <a:cubicBezTo>
                  <a:pt x="59" y="59"/>
                  <a:pt x="60" y="59"/>
                  <a:pt x="60" y="60"/>
                </a:cubicBezTo>
                <a:cubicBezTo>
                  <a:pt x="60" y="61"/>
                  <a:pt x="60" y="61"/>
                  <a:pt x="60" y="61"/>
                </a:cubicBezTo>
                <a:cubicBezTo>
                  <a:pt x="60" y="61"/>
                  <a:pt x="60" y="61"/>
                  <a:pt x="60" y="61"/>
                </a:cubicBezTo>
                <a:cubicBezTo>
                  <a:pt x="60" y="61"/>
                  <a:pt x="60" y="62"/>
                  <a:pt x="60" y="62"/>
                </a:cubicBezTo>
                <a:cubicBezTo>
                  <a:pt x="60" y="62"/>
                  <a:pt x="60" y="63"/>
                  <a:pt x="60" y="63"/>
                </a:cubicBezTo>
                <a:cubicBezTo>
                  <a:pt x="60" y="64"/>
                  <a:pt x="60" y="65"/>
                  <a:pt x="60" y="65"/>
                </a:cubicBezTo>
                <a:cubicBezTo>
                  <a:pt x="60" y="65"/>
                  <a:pt x="59" y="66"/>
                  <a:pt x="59" y="66"/>
                </a:cubicBezTo>
                <a:cubicBezTo>
                  <a:pt x="60" y="67"/>
                  <a:pt x="60" y="67"/>
                  <a:pt x="60" y="68"/>
                </a:cubicBezTo>
                <a:cubicBezTo>
                  <a:pt x="60" y="68"/>
                  <a:pt x="61" y="68"/>
                  <a:pt x="61" y="69"/>
                </a:cubicBezTo>
                <a:cubicBezTo>
                  <a:pt x="62" y="69"/>
                  <a:pt x="64" y="67"/>
                  <a:pt x="65" y="67"/>
                </a:cubicBezTo>
                <a:cubicBezTo>
                  <a:pt x="65" y="67"/>
                  <a:pt x="65" y="66"/>
                  <a:pt x="66" y="66"/>
                </a:cubicBezTo>
                <a:cubicBezTo>
                  <a:pt x="66" y="66"/>
                  <a:pt x="68" y="66"/>
                  <a:pt x="68" y="66"/>
                </a:cubicBezTo>
                <a:cubicBezTo>
                  <a:pt x="70" y="65"/>
                  <a:pt x="72" y="64"/>
                  <a:pt x="74" y="63"/>
                </a:cubicBezTo>
                <a:cubicBezTo>
                  <a:pt x="74" y="63"/>
                  <a:pt x="77" y="63"/>
                  <a:pt x="78" y="64"/>
                </a:cubicBezTo>
                <a:cubicBezTo>
                  <a:pt x="78" y="64"/>
                  <a:pt x="79" y="63"/>
                  <a:pt x="80" y="64"/>
                </a:cubicBezTo>
                <a:cubicBezTo>
                  <a:pt x="80" y="64"/>
                  <a:pt x="81" y="64"/>
                  <a:pt x="81" y="64"/>
                </a:cubicBezTo>
                <a:cubicBezTo>
                  <a:pt x="82" y="64"/>
                  <a:pt x="83" y="64"/>
                  <a:pt x="84" y="64"/>
                </a:cubicBezTo>
                <a:cubicBezTo>
                  <a:pt x="85" y="64"/>
                  <a:pt x="86" y="65"/>
                  <a:pt x="87" y="65"/>
                </a:cubicBezTo>
                <a:cubicBezTo>
                  <a:pt x="87" y="65"/>
                  <a:pt x="88" y="65"/>
                  <a:pt x="88" y="65"/>
                </a:cubicBezTo>
                <a:cubicBezTo>
                  <a:pt x="89" y="65"/>
                  <a:pt x="89" y="66"/>
                  <a:pt x="90" y="66"/>
                </a:cubicBezTo>
                <a:cubicBezTo>
                  <a:pt x="91" y="66"/>
                  <a:pt x="91" y="66"/>
                  <a:pt x="91" y="66"/>
                </a:cubicBezTo>
                <a:cubicBezTo>
                  <a:pt x="92" y="66"/>
                  <a:pt x="93" y="66"/>
                  <a:pt x="94" y="67"/>
                </a:cubicBezTo>
                <a:cubicBezTo>
                  <a:pt x="94" y="67"/>
                  <a:pt x="95" y="67"/>
                  <a:pt x="95" y="67"/>
                </a:cubicBezTo>
                <a:cubicBezTo>
                  <a:pt x="95" y="67"/>
                  <a:pt x="96" y="67"/>
                  <a:pt x="96" y="67"/>
                </a:cubicBezTo>
                <a:cubicBezTo>
                  <a:pt x="96" y="68"/>
                  <a:pt x="96" y="68"/>
                  <a:pt x="97" y="68"/>
                </a:cubicBezTo>
                <a:cubicBezTo>
                  <a:pt x="97" y="68"/>
                  <a:pt x="97" y="68"/>
                  <a:pt x="97" y="68"/>
                </a:cubicBezTo>
                <a:cubicBezTo>
                  <a:pt x="98" y="68"/>
                  <a:pt x="98" y="68"/>
                  <a:pt x="99" y="69"/>
                </a:cubicBezTo>
                <a:cubicBezTo>
                  <a:pt x="99" y="69"/>
                  <a:pt x="100" y="69"/>
                  <a:pt x="100" y="69"/>
                </a:cubicBezTo>
                <a:cubicBezTo>
                  <a:pt x="100" y="69"/>
                  <a:pt x="101" y="69"/>
                  <a:pt x="101" y="70"/>
                </a:cubicBezTo>
                <a:cubicBezTo>
                  <a:pt x="101" y="70"/>
                  <a:pt x="102" y="70"/>
                  <a:pt x="102" y="70"/>
                </a:cubicBezTo>
                <a:cubicBezTo>
                  <a:pt x="103" y="70"/>
                  <a:pt x="103" y="70"/>
                  <a:pt x="104" y="71"/>
                </a:cubicBezTo>
                <a:cubicBezTo>
                  <a:pt x="104" y="71"/>
                  <a:pt x="104" y="71"/>
                  <a:pt x="105" y="71"/>
                </a:cubicBezTo>
                <a:cubicBezTo>
                  <a:pt x="105" y="72"/>
                  <a:pt x="106" y="72"/>
                  <a:pt x="106" y="72"/>
                </a:cubicBezTo>
                <a:cubicBezTo>
                  <a:pt x="106" y="72"/>
                  <a:pt x="107" y="72"/>
                  <a:pt x="107" y="72"/>
                </a:cubicBezTo>
                <a:cubicBezTo>
                  <a:pt x="108" y="73"/>
                  <a:pt x="109" y="72"/>
                  <a:pt x="110" y="72"/>
                </a:cubicBezTo>
                <a:cubicBezTo>
                  <a:pt x="111" y="72"/>
                  <a:pt x="111" y="72"/>
                  <a:pt x="112" y="72"/>
                </a:cubicBezTo>
                <a:cubicBezTo>
                  <a:pt x="113" y="72"/>
                  <a:pt x="114" y="72"/>
                  <a:pt x="114" y="72"/>
                </a:cubicBezTo>
                <a:cubicBezTo>
                  <a:pt x="115" y="71"/>
                  <a:pt x="116" y="72"/>
                  <a:pt x="117" y="72"/>
                </a:cubicBezTo>
                <a:cubicBezTo>
                  <a:pt x="118" y="71"/>
                  <a:pt x="118" y="71"/>
                  <a:pt x="119" y="71"/>
                </a:cubicBezTo>
                <a:cubicBezTo>
                  <a:pt x="119" y="71"/>
                  <a:pt x="121" y="71"/>
                  <a:pt x="122" y="71"/>
                </a:cubicBezTo>
                <a:cubicBezTo>
                  <a:pt x="122" y="71"/>
                  <a:pt x="123" y="71"/>
                  <a:pt x="123" y="71"/>
                </a:cubicBezTo>
                <a:cubicBezTo>
                  <a:pt x="124" y="71"/>
                  <a:pt x="125" y="71"/>
                  <a:pt x="126" y="72"/>
                </a:cubicBezTo>
                <a:cubicBezTo>
                  <a:pt x="126" y="71"/>
                  <a:pt x="128" y="71"/>
                  <a:pt x="129" y="72"/>
                </a:cubicBezTo>
                <a:cubicBezTo>
                  <a:pt x="130" y="72"/>
                  <a:pt x="130" y="72"/>
                  <a:pt x="131" y="72"/>
                </a:cubicBezTo>
                <a:cubicBezTo>
                  <a:pt x="131" y="72"/>
                  <a:pt x="132" y="72"/>
                  <a:pt x="132" y="72"/>
                </a:cubicBezTo>
                <a:cubicBezTo>
                  <a:pt x="132" y="72"/>
                  <a:pt x="132" y="73"/>
                  <a:pt x="133" y="73"/>
                </a:cubicBezTo>
                <a:cubicBezTo>
                  <a:pt x="133" y="73"/>
                  <a:pt x="133" y="73"/>
                  <a:pt x="134" y="73"/>
                </a:cubicBezTo>
                <a:cubicBezTo>
                  <a:pt x="134" y="73"/>
                  <a:pt x="135" y="74"/>
                  <a:pt x="136" y="74"/>
                </a:cubicBezTo>
                <a:cubicBezTo>
                  <a:pt x="136" y="74"/>
                  <a:pt x="137" y="74"/>
                  <a:pt x="137" y="74"/>
                </a:cubicBezTo>
                <a:cubicBezTo>
                  <a:pt x="137" y="75"/>
                  <a:pt x="138" y="75"/>
                  <a:pt x="138" y="75"/>
                </a:cubicBezTo>
                <a:cubicBezTo>
                  <a:pt x="139" y="76"/>
                  <a:pt x="139" y="76"/>
                  <a:pt x="140" y="76"/>
                </a:cubicBezTo>
                <a:cubicBezTo>
                  <a:pt x="140" y="77"/>
                  <a:pt x="141" y="77"/>
                  <a:pt x="141" y="77"/>
                </a:cubicBezTo>
                <a:cubicBezTo>
                  <a:pt x="142" y="78"/>
                  <a:pt x="142" y="78"/>
                  <a:pt x="143" y="78"/>
                </a:cubicBezTo>
                <a:cubicBezTo>
                  <a:pt x="143" y="78"/>
                  <a:pt x="143" y="79"/>
                  <a:pt x="144" y="79"/>
                </a:cubicBezTo>
                <a:cubicBezTo>
                  <a:pt x="144" y="79"/>
                  <a:pt x="144" y="79"/>
                  <a:pt x="145" y="79"/>
                </a:cubicBezTo>
                <a:cubicBezTo>
                  <a:pt x="145" y="79"/>
                  <a:pt x="145" y="80"/>
                  <a:pt x="146" y="80"/>
                </a:cubicBezTo>
                <a:cubicBezTo>
                  <a:pt x="146" y="80"/>
                  <a:pt x="146" y="80"/>
                  <a:pt x="146" y="80"/>
                </a:cubicBezTo>
                <a:cubicBezTo>
                  <a:pt x="147" y="80"/>
                  <a:pt x="147" y="81"/>
                  <a:pt x="147" y="81"/>
                </a:cubicBezTo>
                <a:cubicBezTo>
                  <a:pt x="147" y="81"/>
                  <a:pt x="148" y="81"/>
                  <a:pt x="148" y="82"/>
                </a:cubicBezTo>
                <a:cubicBezTo>
                  <a:pt x="149" y="82"/>
                  <a:pt x="150" y="83"/>
                  <a:pt x="151" y="84"/>
                </a:cubicBezTo>
                <a:cubicBezTo>
                  <a:pt x="152" y="84"/>
                  <a:pt x="154" y="85"/>
                  <a:pt x="155" y="86"/>
                </a:cubicBezTo>
                <a:cubicBezTo>
                  <a:pt x="155" y="86"/>
                  <a:pt x="156" y="87"/>
                  <a:pt x="157" y="88"/>
                </a:cubicBezTo>
                <a:cubicBezTo>
                  <a:pt x="157" y="88"/>
                  <a:pt x="158" y="88"/>
                  <a:pt x="158" y="89"/>
                </a:cubicBezTo>
                <a:cubicBezTo>
                  <a:pt x="159" y="89"/>
                  <a:pt x="159" y="90"/>
                  <a:pt x="159" y="91"/>
                </a:cubicBezTo>
                <a:cubicBezTo>
                  <a:pt x="159" y="91"/>
                  <a:pt x="159" y="91"/>
                  <a:pt x="160" y="92"/>
                </a:cubicBezTo>
                <a:cubicBezTo>
                  <a:pt x="160" y="93"/>
                  <a:pt x="161" y="94"/>
                  <a:pt x="161" y="95"/>
                </a:cubicBezTo>
                <a:cubicBezTo>
                  <a:pt x="161" y="95"/>
                  <a:pt x="162" y="96"/>
                  <a:pt x="162" y="96"/>
                </a:cubicBezTo>
                <a:cubicBezTo>
                  <a:pt x="162" y="97"/>
                  <a:pt x="162" y="100"/>
                  <a:pt x="162" y="101"/>
                </a:cubicBezTo>
                <a:cubicBezTo>
                  <a:pt x="162" y="102"/>
                  <a:pt x="162" y="102"/>
                  <a:pt x="162" y="102"/>
                </a:cubicBezTo>
                <a:cubicBezTo>
                  <a:pt x="162" y="102"/>
                  <a:pt x="161" y="104"/>
                  <a:pt x="161" y="104"/>
                </a:cubicBezTo>
                <a:cubicBezTo>
                  <a:pt x="161" y="104"/>
                  <a:pt x="160" y="104"/>
                  <a:pt x="160" y="104"/>
                </a:cubicBezTo>
                <a:cubicBezTo>
                  <a:pt x="160" y="105"/>
                  <a:pt x="160" y="105"/>
                  <a:pt x="160" y="105"/>
                </a:cubicBezTo>
                <a:cubicBezTo>
                  <a:pt x="160" y="106"/>
                  <a:pt x="159" y="106"/>
                  <a:pt x="159" y="107"/>
                </a:cubicBezTo>
                <a:cubicBezTo>
                  <a:pt x="159" y="109"/>
                  <a:pt x="160" y="110"/>
                  <a:pt x="160" y="112"/>
                </a:cubicBezTo>
                <a:cubicBezTo>
                  <a:pt x="160" y="112"/>
                  <a:pt x="159" y="112"/>
                  <a:pt x="159" y="113"/>
                </a:cubicBezTo>
                <a:cubicBezTo>
                  <a:pt x="159" y="113"/>
                  <a:pt x="159" y="114"/>
                  <a:pt x="159" y="114"/>
                </a:cubicBezTo>
                <a:cubicBezTo>
                  <a:pt x="159" y="115"/>
                  <a:pt x="159" y="115"/>
                  <a:pt x="158" y="115"/>
                </a:cubicBezTo>
                <a:cubicBezTo>
                  <a:pt x="158" y="116"/>
                  <a:pt x="158" y="117"/>
                  <a:pt x="158" y="117"/>
                </a:cubicBezTo>
                <a:cubicBezTo>
                  <a:pt x="157" y="118"/>
                  <a:pt x="156" y="118"/>
                  <a:pt x="156" y="119"/>
                </a:cubicBezTo>
                <a:cubicBezTo>
                  <a:pt x="155" y="119"/>
                  <a:pt x="155" y="120"/>
                  <a:pt x="154" y="120"/>
                </a:cubicBezTo>
                <a:cubicBezTo>
                  <a:pt x="154" y="119"/>
                  <a:pt x="155" y="119"/>
                  <a:pt x="155" y="118"/>
                </a:cubicBezTo>
                <a:cubicBezTo>
                  <a:pt x="155" y="117"/>
                  <a:pt x="154" y="116"/>
                  <a:pt x="153" y="116"/>
                </a:cubicBezTo>
                <a:cubicBezTo>
                  <a:pt x="153" y="116"/>
                  <a:pt x="152" y="116"/>
                  <a:pt x="152" y="116"/>
                </a:cubicBezTo>
                <a:cubicBezTo>
                  <a:pt x="150" y="117"/>
                  <a:pt x="149" y="117"/>
                  <a:pt x="148" y="118"/>
                </a:cubicBezTo>
                <a:cubicBezTo>
                  <a:pt x="147" y="118"/>
                  <a:pt x="147" y="118"/>
                  <a:pt x="146" y="118"/>
                </a:cubicBezTo>
                <a:cubicBezTo>
                  <a:pt x="146" y="118"/>
                  <a:pt x="145" y="118"/>
                  <a:pt x="144" y="119"/>
                </a:cubicBezTo>
                <a:cubicBezTo>
                  <a:pt x="144" y="119"/>
                  <a:pt x="143" y="119"/>
                  <a:pt x="143" y="119"/>
                </a:cubicBezTo>
                <a:cubicBezTo>
                  <a:pt x="142" y="119"/>
                  <a:pt x="140" y="119"/>
                  <a:pt x="139" y="119"/>
                </a:cubicBezTo>
                <a:cubicBezTo>
                  <a:pt x="139" y="119"/>
                  <a:pt x="139" y="119"/>
                  <a:pt x="138" y="119"/>
                </a:cubicBezTo>
                <a:cubicBezTo>
                  <a:pt x="137" y="119"/>
                  <a:pt x="136" y="119"/>
                  <a:pt x="135" y="119"/>
                </a:cubicBezTo>
                <a:cubicBezTo>
                  <a:pt x="135" y="118"/>
                  <a:pt x="135" y="118"/>
                  <a:pt x="135" y="117"/>
                </a:cubicBezTo>
                <a:cubicBezTo>
                  <a:pt x="135" y="117"/>
                  <a:pt x="134" y="116"/>
                  <a:pt x="134" y="116"/>
                </a:cubicBezTo>
                <a:cubicBezTo>
                  <a:pt x="131" y="116"/>
                  <a:pt x="131" y="116"/>
                  <a:pt x="131" y="116"/>
                </a:cubicBezTo>
                <a:cubicBezTo>
                  <a:pt x="130" y="116"/>
                  <a:pt x="130" y="116"/>
                  <a:pt x="130" y="116"/>
                </a:cubicBezTo>
                <a:cubicBezTo>
                  <a:pt x="130" y="117"/>
                  <a:pt x="129" y="117"/>
                  <a:pt x="129" y="117"/>
                </a:cubicBezTo>
                <a:cubicBezTo>
                  <a:pt x="129" y="117"/>
                  <a:pt x="128" y="117"/>
                  <a:pt x="128" y="118"/>
                </a:cubicBezTo>
                <a:cubicBezTo>
                  <a:pt x="128" y="118"/>
                  <a:pt x="127" y="118"/>
                  <a:pt x="127" y="118"/>
                </a:cubicBezTo>
                <a:cubicBezTo>
                  <a:pt x="126" y="118"/>
                  <a:pt x="126" y="119"/>
                  <a:pt x="125" y="120"/>
                </a:cubicBezTo>
                <a:cubicBezTo>
                  <a:pt x="124" y="120"/>
                  <a:pt x="124" y="120"/>
                  <a:pt x="123" y="120"/>
                </a:cubicBezTo>
                <a:cubicBezTo>
                  <a:pt x="123" y="121"/>
                  <a:pt x="122" y="121"/>
                  <a:pt x="122" y="122"/>
                </a:cubicBezTo>
                <a:cubicBezTo>
                  <a:pt x="122" y="122"/>
                  <a:pt x="121" y="123"/>
                  <a:pt x="121" y="123"/>
                </a:cubicBezTo>
                <a:cubicBezTo>
                  <a:pt x="120" y="123"/>
                  <a:pt x="120" y="123"/>
                  <a:pt x="119" y="124"/>
                </a:cubicBezTo>
                <a:cubicBezTo>
                  <a:pt x="118" y="125"/>
                  <a:pt x="122" y="126"/>
                  <a:pt x="123" y="125"/>
                </a:cubicBezTo>
                <a:cubicBezTo>
                  <a:pt x="124" y="125"/>
                  <a:pt x="124" y="125"/>
                  <a:pt x="125" y="125"/>
                </a:cubicBezTo>
                <a:cubicBezTo>
                  <a:pt x="125" y="124"/>
                  <a:pt x="126" y="124"/>
                  <a:pt x="126" y="124"/>
                </a:cubicBezTo>
                <a:cubicBezTo>
                  <a:pt x="127" y="124"/>
                  <a:pt x="127" y="123"/>
                  <a:pt x="128" y="123"/>
                </a:cubicBezTo>
                <a:cubicBezTo>
                  <a:pt x="128" y="122"/>
                  <a:pt x="129" y="122"/>
                  <a:pt x="129" y="122"/>
                </a:cubicBezTo>
                <a:cubicBezTo>
                  <a:pt x="129" y="122"/>
                  <a:pt x="130" y="122"/>
                  <a:pt x="131" y="121"/>
                </a:cubicBezTo>
                <a:cubicBezTo>
                  <a:pt x="131" y="121"/>
                  <a:pt x="131" y="122"/>
                  <a:pt x="132" y="122"/>
                </a:cubicBezTo>
                <a:cubicBezTo>
                  <a:pt x="132" y="122"/>
                  <a:pt x="132" y="122"/>
                  <a:pt x="133" y="122"/>
                </a:cubicBezTo>
                <a:cubicBezTo>
                  <a:pt x="133" y="122"/>
                  <a:pt x="133" y="122"/>
                  <a:pt x="133" y="123"/>
                </a:cubicBezTo>
                <a:cubicBezTo>
                  <a:pt x="134" y="123"/>
                  <a:pt x="135" y="123"/>
                  <a:pt x="135" y="123"/>
                </a:cubicBezTo>
                <a:cubicBezTo>
                  <a:pt x="135" y="123"/>
                  <a:pt x="136" y="123"/>
                  <a:pt x="136" y="123"/>
                </a:cubicBezTo>
                <a:cubicBezTo>
                  <a:pt x="138" y="124"/>
                  <a:pt x="140" y="124"/>
                  <a:pt x="142" y="124"/>
                </a:cubicBezTo>
                <a:cubicBezTo>
                  <a:pt x="143" y="124"/>
                  <a:pt x="145" y="124"/>
                  <a:pt x="146" y="123"/>
                </a:cubicBezTo>
                <a:cubicBezTo>
                  <a:pt x="146" y="123"/>
                  <a:pt x="147" y="123"/>
                  <a:pt x="147" y="123"/>
                </a:cubicBezTo>
                <a:cubicBezTo>
                  <a:pt x="148" y="123"/>
                  <a:pt x="148" y="123"/>
                  <a:pt x="148" y="123"/>
                </a:cubicBezTo>
                <a:cubicBezTo>
                  <a:pt x="147" y="124"/>
                  <a:pt x="147" y="124"/>
                  <a:pt x="146" y="124"/>
                </a:cubicBezTo>
                <a:cubicBezTo>
                  <a:pt x="146" y="125"/>
                  <a:pt x="145" y="125"/>
                  <a:pt x="145" y="125"/>
                </a:cubicBezTo>
                <a:cubicBezTo>
                  <a:pt x="145" y="125"/>
                  <a:pt x="144" y="125"/>
                  <a:pt x="144" y="125"/>
                </a:cubicBezTo>
                <a:cubicBezTo>
                  <a:pt x="144" y="125"/>
                  <a:pt x="144" y="125"/>
                  <a:pt x="143" y="126"/>
                </a:cubicBezTo>
                <a:cubicBezTo>
                  <a:pt x="143" y="126"/>
                  <a:pt x="142" y="126"/>
                  <a:pt x="142" y="127"/>
                </a:cubicBezTo>
                <a:cubicBezTo>
                  <a:pt x="141" y="127"/>
                  <a:pt x="140" y="127"/>
                  <a:pt x="140" y="127"/>
                </a:cubicBezTo>
                <a:cubicBezTo>
                  <a:pt x="138" y="128"/>
                  <a:pt x="136" y="128"/>
                  <a:pt x="135" y="129"/>
                </a:cubicBezTo>
                <a:cubicBezTo>
                  <a:pt x="133" y="129"/>
                  <a:pt x="131" y="128"/>
                  <a:pt x="130" y="128"/>
                </a:cubicBezTo>
                <a:cubicBezTo>
                  <a:pt x="130" y="128"/>
                  <a:pt x="129" y="128"/>
                  <a:pt x="128" y="128"/>
                </a:cubicBezTo>
                <a:cubicBezTo>
                  <a:pt x="127" y="127"/>
                  <a:pt x="126" y="127"/>
                  <a:pt x="125" y="127"/>
                </a:cubicBezTo>
                <a:cubicBezTo>
                  <a:pt x="125" y="127"/>
                  <a:pt x="124" y="127"/>
                  <a:pt x="124" y="127"/>
                </a:cubicBezTo>
                <a:cubicBezTo>
                  <a:pt x="123" y="127"/>
                  <a:pt x="122" y="127"/>
                  <a:pt x="121" y="126"/>
                </a:cubicBezTo>
                <a:cubicBezTo>
                  <a:pt x="121" y="126"/>
                  <a:pt x="121" y="126"/>
                  <a:pt x="120" y="126"/>
                </a:cubicBezTo>
                <a:cubicBezTo>
                  <a:pt x="119" y="126"/>
                  <a:pt x="118" y="125"/>
                  <a:pt x="116" y="124"/>
                </a:cubicBezTo>
                <a:cubicBezTo>
                  <a:pt x="116" y="124"/>
                  <a:pt x="116" y="124"/>
                  <a:pt x="115" y="124"/>
                </a:cubicBezTo>
                <a:cubicBezTo>
                  <a:pt x="114" y="124"/>
                  <a:pt x="112" y="124"/>
                  <a:pt x="111" y="123"/>
                </a:cubicBezTo>
                <a:cubicBezTo>
                  <a:pt x="111" y="123"/>
                  <a:pt x="110" y="123"/>
                  <a:pt x="110" y="123"/>
                </a:cubicBezTo>
                <a:cubicBezTo>
                  <a:pt x="109" y="123"/>
                  <a:pt x="108" y="122"/>
                  <a:pt x="108" y="122"/>
                </a:cubicBezTo>
                <a:cubicBezTo>
                  <a:pt x="107" y="122"/>
                  <a:pt x="106" y="122"/>
                  <a:pt x="105" y="122"/>
                </a:cubicBezTo>
                <a:cubicBezTo>
                  <a:pt x="102" y="121"/>
                  <a:pt x="98" y="120"/>
                  <a:pt x="94" y="119"/>
                </a:cubicBezTo>
                <a:cubicBezTo>
                  <a:pt x="93" y="119"/>
                  <a:pt x="93" y="119"/>
                  <a:pt x="93" y="119"/>
                </a:cubicBezTo>
                <a:cubicBezTo>
                  <a:pt x="92" y="119"/>
                  <a:pt x="91" y="119"/>
                  <a:pt x="90" y="119"/>
                </a:cubicBezTo>
                <a:cubicBezTo>
                  <a:pt x="88" y="119"/>
                  <a:pt x="88" y="119"/>
                  <a:pt x="88" y="119"/>
                </a:cubicBezTo>
                <a:cubicBezTo>
                  <a:pt x="88" y="119"/>
                  <a:pt x="86" y="118"/>
                  <a:pt x="86" y="119"/>
                </a:cubicBezTo>
                <a:cubicBezTo>
                  <a:pt x="85" y="119"/>
                  <a:pt x="83" y="119"/>
                  <a:pt x="82" y="119"/>
                </a:cubicBezTo>
                <a:cubicBezTo>
                  <a:pt x="79" y="119"/>
                  <a:pt x="79" y="119"/>
                  <a:pt x="79" y="119"/>
                </a:cubicBezTo>
                <a:cubicBezTo>
                  <a:pt x="77" y="118"/>
                  <a:pt x="75" y="119"/>
                  <a:pt x="73" y="118"/>
                </a:cubicBezTo>
                <a:cubicBezTo>
                  <a:pt x="72" y="118"/>
                  <a:pt x="72" y="118"/>
                  <a:pt x="71" y="118"/>
                </a:cubicBezTo>
                <a:cubicBezTo>
                  <a:pt x="71" y="118"/>
                  <a:pt x="71" y="118"/>
                  <a:pt x="70" y="118"/>
                </a:cubicBezTo>
                <a:cubicBezTo>
                  <a:pt x="68" y="118"/>
                  <a:pt x="66" y="118"/>
                  <a:pt x="64" y="119"/>
                </a:cubicBezTo>
                <a:cubicBezTo>
                  <a:pt x="62" y="119"/>
                  <a:pt x="61" y="119"/>
                  <a:pt x="60" y="119"/>
                </a:cubicBezTo>
                <a:cubicBezTo>
                  <a:pt x="59" y="119"/>
                  <a:pt x="57" y="119"/>
                  <a:pt x="56" y="119"/>
                </a:cubicBezTo>
                <a:cubicBezTo>
                  <a:pt x="54" y="120"/>
                  <a:pt x="51" y="120"/>
                  <a:pt x="48" y="121"/>
                </a:cubicBezTo>
                <a:cubicBezTo>
                  <a:pt x="47" y="121"/>
                  <a:pt x="46" y="121"/>
                  <a:pt x="45" y="121"/>
                </a:cubicBezTo>
                <a:cubicBezTo>
                  <a:pt x="42" y="122"/>
                  <a:pt x="39" y="122"/>
                  <a:pt x="36" y="123"/>
                </a:cubicBezTo>
                <a:cubicBezTo>
                  <a:pt x="36" y="123"/>
                  <a:pt x="35" y="123"/>
                  <a:pt x="35" y="123"/>
                </a:cubicBezTo>
                <a:cubicBezTo>
                  <a:pt x="34" y="124"/>
                  <a:pt x="32" y="124"/>
                  <a:pt x="31" y="125"/>
                </a:cubicBezTo>
                <a:cubicBezTo>
                  <a:pt x="31" y="125"/>
                  <a:pt x="30" y="125"/>
                  <a:pt x="30" y="125"/>
                </a:cubicBezTo>
                <a:cubicBezTo>
                  <a:pt x="29" y="126"/>
                  <a:pt x="28" y="127"/>
                  <a:pt x="27" y="127"/>
                </a:cubicBezTo>
                <a:cubicBezTo>
                  <a:pt x="27" y="127"/>
                  <a:pt x="26" y="127"/>
                  <a:pt x="26" y="127"/>
                </a:cubicBezTo>
                <a:cubicBezTo>
                  <a:pt x="26" y="128"/>
                  <a:pt x="26" y="128"/>
                  <a:pt x="25" y="128"/>
                </a:cubicBezTo>
                <a:cubicBezTo>
                  <a:pt x="24" y="129"/>
                  <a:pt x="22" y="129"/>
                  <a:pt x="20" y="131"/>
                </a:cubicBezTo>
                <a:cubicBezTo>
                  <a:pt x="20" y="131"/>
                  <a:pt x="20" y="130"/>
                  <a:pt x="19" y="129"/>
                </a:cubicBezTo>
                <a:cubicBezTo>
                  <a:pt x="19" y="129"/>
                  <a:pt x="19" y="129"/>
                  <a:pt x="19" y="128"/>
                </a:cubicBezTo>
                <a:cubicBezTo>
                  <a:pt x="18" y="127"/>
                  <a:pt x="17" y="127"/>
                  <a:pt x="17" y="125"/>
                </a:cubicBezTo>
                <a:cubicBezTo>
                  <a:pt x="17" y="124"/>
                  <a:pt x="16" y="123"/>
                  <a:pt x="16" y="122"/>
                </a:cubicBezTo>
                <a:cubicBezTo>
                  <a:pt x="16" y="121"/>
                  <a:pt x="16" y="119"/>
                  <a:pt x="16" y="117"/>
                </a:cubicBezTo>
                <a:cubicBezTo>
                  <a:pt x="16" y="117"/>
                  <a:pt x="15" y="116"/>
                  <a:pt x="15" y="116"/>
                </a:cubicBezTo>
                <a:cubicBezTo>
                  <a:pt x="14" y="115"/>
                  <a:pt x="14" y="114"/>
                  <a:pt x="13" y="113"/>
                </a:cubicBezTo>
                <a:cubicBezTo>
                  <a:pt x="13" y="113"/>
                  <a:pt x="12" y="113"/>
                  <a:pt x="12" y="112"/>
                </a:cubicBezTo>
                <a:cubicBezTo>
                  <a:pt x="12" y="112"/>
                  <a:pt x="12" y="112"/>
                  <a:pt x="11" y="112"/>
                </a:cubicBezTo>
                <a:cubicBezTo>
                  <a:pt x="11" y="111"/>
                  <a:pt x="11" y="111"/>
                  <a:pt x="10" y="111"/>
                </a:cubicBezTo>
                <a:cubicBezTo>
                  <a:pt x="10" y="110"/>
                  <a:pt x="11" y="109"/>
                  <a:pt x="11" y="108"/>
                </a:cubicBezTo>
                <a:cubicBezTo>
                  <a:pt x="12" y="107"/>
                  <a:pt x="11" y="106"/>
                  <a:pt x="11" y="105"/>
                </a:cubicBezTo>
                <a:cubicBezTo>
                  <a:pt x="12" y="102"/>
                  <a:pt x="13" y="101"/>
                  <a:pt x="16" y="101"/>
                </a:cubicBezTo>
                <a:cubicBezTo>
                  <a:pt x="17" y="102"/>
                  <a:pt x="17" y="103"/>
                  <a:pt x="18" y="104"/>
                </a:cubicBezTo>
                <a:cubicBezTo>
                  <a:pt x="19" y="105"/>
                  <a:pt x="19" y="105"/>
                  <a:pt x="20" y="106"/>
                </a:cubicBezTo>
                <a:cubicBezTo>
                  <a:pt x="21" y="106"/>
                  <a:pt x="21" y="105"/>
                  <a:pt x="21" y="105"/>
                </a:cubicBezTo>
                <a:cubicBezTo>
                  <a:pt x="22" y="104"/>
                  <a:pt x="22" y="103"/>
                  <a:pt x="21" y="101"/>
                </a:cubicBezTo>
                <a:cubicBezTo>
                  <a:pt x="21" y="100"/>
                  <a:pt x="20" y="99"/>
                  <a:pt x="20" y="97"/>
                </a:cubicBezTo>
                <a:cubicBezTo>
                  <a:pt x="20" y="96"/>
                  <a:pt x="21" y="95"/>
                  <a:pt x="21" y="94"/>
                </a:cubicBezTo>
                <a:cubicBezTo>
                  <a:pt x="21" y="93"/>
                  <a:pt x="21" y="93"/>
                  <a:pt x="21" y="92"/>
                </a:cubicBezTo>
                <a:cubicBezTo>
                  <a:pt x="21" y="91"/>
                  <a:pt x="21" y="91"/>
                  <a:pt x="22" y="90"/>
                </a:cubicBezTo>
                <a:cubicBezTo>
                  <a:pt x="22" y="90"/>
                  <a:pt x="23" y="89"/>
                  <a:pt x="23" y="88"/>
                </a:cubicBezTo>
                <a:cubicBezTo>
                  <a:pt x="25" y="88"/>
                  <a:pt x="26" y="89"/>
                  <a:pt x="27" y="89"/>
                </a:cubicBezTo>
                <a:cubicBezTo>
                  <a:pt x="27" y="89"/>
                  <a:pt x="28" y="89"/>
                  <a:pt x="28" y="89"/>
                </a:cubicBezTo>
                <a:cubicBezTo>
                  <a:pt x="28" y="90"/>
                  <a:pt x="29" y="90"/>
                  <a:pt x="29" y="91"/>
                </a:cubicBezTo>
                <a:cubicBezTo>
                  <a:pt x="30" y="91"/>
                  <a:pt x="30" y="92"/>
                  <a:pt x="30" y="93"/>
                </a:cubicBezTo>
                <a:cubicBezTo>
                  <a:pt x="30" y="93"/>
                  <a:pt x="31" y="93"/>
                  <a:pt x="31" y="94"/>
                </a:cubicBezTo>
                <a:cubicBezTo>
                  <a:pt x="31" y="94"/>
                  <a:pt x="31" y="94"/>
                  <a:pt x="31" y="95"/>
                </a:cubicBezTo>
                <a:cubicBezTo>
                  <a:pt x="31" y="95"/>
                  <a:pt x="33" y="96"/>
                  <a:pt x="33" y="97"/>
                </a:cubicBezTo>
                <a:cubicBezTo>
                  <a:pt x="34" y="98"/>
                  <a:pt x="34" y="99"/>
                  <a:pt x="35" y="99"/>
                </a:cubicBezTo>
                <a:cubicBezTo>
                  <a:pt x="35" y="99"/>
                  <a:pt x="36" y="99"/>
                  <a:pt x="37" y="99"/>
                </a:cubicBezTo>
                <a:cubicBezTo>
                  <a:pt x="37" y="99"/>
                  <a:pt x="38" y="97"/>
                  <a:pt x="38" y="97"/>
                </a:cubicBezTo>
                <a:cubicBezTo>
                  <a:pt x="37" y="95"/>
                  <a:pt x="36" y="94"/>
                  <a:pt x="35" y="92"/>
                </a:cubicBezTo>
                <a:cubicBezTo>
                  <a:pt x="34" y="91"/>
                  <a:pt x="33" y="89"/>
                  <a:pt x="32" y="88"/>
                </a:cubicBezTo>
                <a:cubicBezTo>
                  <a:pt x="32" y="87"/>
                  <a:pt x="32" y="86"/>
                  <a:pt x="31" y="86"/>
                </a:cubicBezTo>
                <a:cubicBezTo>
                  <a:pt x="31" y="85"/>
                  <a:pt x="31" y="85"/>
                  <a:pt x="31" y="85"/>
                </a:cubicBezTo>
                <a:cubicBezTo>
                  <a:pt x="30" y="84"/>
                  <a:pt x="30" y="84"/>
                  <a:pt x="30" y="84"/>
                </a:cubicBezTo>
                <a:cubicBezTo>
                  <a:pt x="30" y="83"/>
                  <a:pt x="30" y="83"/>
                  <a:pt x="29" y="83"/>
                </a:cubicBezTo>
                <a:cubicBezTo>
                  <a:pt x="29" y="83"/>
                  <a:pt x="29" y="82"/>
                  <a:pt x="29" y="82"/>
                </a:cubicBezTo>
                <a:cubicBezTo>
                  <a:pt x="29" y="82"/>
                  <a:pt x="28" y="82"/>
                  <a:pt x="28" y="82"/>
                </a:cubicBezTo>
                <a:cubicBezTo>
                  <a:pt x="28" y="81"/>
                  <a:pt x="27" y="81"/>
                  <a:pt x="27" y="80"/>
                </a:cubicBezTo>
                <a:cubicBezTo>
                  <a:pt x="27" y="80"/>
                  <a:pt x="26" y="80"/>
                  <a:pt x="26" y="80"/>
                </a:cubicBezTo>
                <a:cubicBezTo>
                  <a:pt x="25" y="79"/>
                  <a:pt x="25" y="78"/>
                  <a:pt x="24" y="78"/>
                </a:cubicBezTo>
                <a:cubicBezTo>
                  <a:pt x="24" y="78"/>
                  <a:pt x="23" y="78"/>
                  <a:pt x="23" y="78"/>
                </a:cubicBezTo>
                <a:cubicBezTo>
                  <a:pt x="22" y="78"/>
                  <a:pt x="20" y="77"/>
                  <a:pt x="19" y="76"/>
                </a:cubicBezTo>
                <a:cubicBezTo>
                  <a:pt x="20" y="76"/>
                  <a:pt x="20" y="76"/>
                  <a:pt x="21" y="75"/>
                </a:cubicBezTo>
                <a:cubicBezTo>
                  <a:pt x="21" y="74"/>
                  <a:pt x="21" y="74"/>
                  <a:pt x="20" y="73"/>
                </a:cubicBezTo>
                <a:cubicBezTo>
                  <a:pt x="20" y="72"/>
                  <a:pt x="20" y="70"/>
                  <a:pt x="21" y="69"/>
                </a:cubicBezTo>
                <a:cubicBezTo>
                  <a:pt x="21" y="69"/>
                  <a:pt x="21" y="69"/>
                  <a:pt x="21" y="69"/>
                </a:cubicBezTo>
                <a:cubicBezTo>
                  <a:pt x="21" y="69"/>
                  <a:pt x="22" y="70"/>
                  <a:pt x="22" y="70"/>
                </a:cubicBezTo>
                <a:cubicBezTo>
                  <a:pt x="23" y="70"/>
                  <a:pt x="24" y="70"/>
                  <a:pt x="25" y="71"/>
                </a:cubicBezTo>
                <a:cubicBezTo>
                  <a:pt x="26" y="71"/>
                  <a:pt x="27" y="70"/>
                  <a:pt x="27" y="71"/>
                </a:cubicBezTo>
                <a:cubicBezTo>
                  <a:pt x="28" y="71"/>
                  <a:pt x="28" y="71"/>
                  <a:pt x="28" y="71"/>
                </a:cubicBezTo>
                <a:cubicBezTo>
                  <a:pt x="29" y="71"/>
                  <a:pt x="29" y="70"/>
                  <a:pt x="30" y="70"/>
                </a:cubicBezTo>
                <a:cubicBezTo>
                  <a:pt x="30" y="70"/>
                  <a:pt x="31" y="70"/>
                  <a:pt x="31" y="70"/>
                </a:cubicBezTo>
                <a:cubicBezTo>
                  <a:pt x="32" y="70"/>
                  <a:pt x="32" y="69"/>
                  <a:pt x="33" y="69"/>
                </a:cubicBezTo>
                <a:cubicBezTo>
                  <a:pt x="33" y="70"/>
                  <a:pt x="34" y="72"/>
                  <a:pt x="34" y="73"/>
                </a:cubicBezTo>
                <a:cubicBezTo>
                  <a:pt x="35" y="75"/>
                  <a:pt x="37" y="76"/>
                  <a:pt x="38" y="78"/>
                </a:cubicBezTo>
                <a:cubicBezTo>
                  <a:pt x="38" y="78"/>
                  <a:pt x="38" y="79"/>
                  <a:pt x="38" y="79"/>
                </a:cubicBezTo>
                <a:cubicBezTo>
                  <a:pt x="39" y="79"/>
                  <a:pt x="39" y="80"/>
                  <a:pt x="39" y="80"/>
                </a:cubicBezTo>
                <a:cubicBezTo>
                  <a:pt x="40" y="81"/>
                  <a:pt x="40" y="81"/>
                  <a:pt x="41" y="82"/>
                </a:cubicBezTo>
                <a:cubicBezTo>
                  <a:pt x="41" y="82"/>
                  <a:pt x="42" y="83"/>
                  <a:pt x="42" y="83"/>
                </a:cubicBezTo>
                <a:cubicBezTo>
                  <a:pt x="44" y="85"/>
                  <a:pt x="46" y="87"/>
                  <a:pt x="48" y="88"/>
                </a:cubicBezTo>
                <a:cubicBezTo>
                  <a:pt x="49" y="89"/>
                  <a:pt x="51" y="90"/>
                  <a:pt x="52" y="91"/>
                </a:cubicBezTo>
                <a:cubicBezTo>
                  <a:pt x="53" y="92"/>
                  <a:pt x="55" y="92"/>
                  <a:pt x="56" y="92"/>
                </a:cubicBezTo>
                <a:cubicBezTo>
                  <a:pt x="57" y="92"/>
                  <a:pt x="58" y="93"/>
                  <a:pt x="58" y="93"/>
                </a:cubicBezTo>
                <a:cubicBezTo>
                  <a:pt x="60" y="93"/>
                  <a:pt x="61" y="93"/>
                  <a:pt x="63" y="93"/>
                </a:cubicBezTo>
                <a:cubicBezTo>
                  <a:pt x="63" y="93"/>
                  <a:pt x="63" y="93"/>
                  <a:pt x="64" y="93"/>
                </a:cubicBezTo>
                <a:cubicBezTo>
                  <a:pt x="64" y="93"/>
                  <a:pt x="65" y="93"/>
                  <a:pt x="65" y="93"/>
                </a:cubicBezTo>
                <a:cubicBezTo>
                  <a:pt x="66" y="93"/>
                  <a:pt x="67" y="93"/>
                  <a:pt x="67" y="93"/>
                </a:cubicBezTo>
                <a:cubicBezTo>
                  <a:pt x="69" y="92"/>
                  <a:pt x="71" y="92"/>
                  <a:pt x="72" y="92"/>
                </a:cubicBezTo>
                <a:cubicBezTo>
                  <a:pt x="74" y="91"/>
                  <a:pt x="76" y="92"/>
                  <a:pt x="78" y="91"/>
                </a:cubicBezTo>
                <a:cubicBezTo>
                  <a:pt x="78" y="91"/>
                  <a:pt x="79" y="91"/>
                  <a:pt x="79" y="91"/>
                </a:cubicBezTo>
                <a:cubicBezTo>
                  <a:pt x="80" y="91"/>
                  <a:pt x="82" y="91"/>
                  <a:pt x="84" y="91"/>
                </a:cubicBezTo>
                <a:cubicBezTo>
                  <a:pt x="85" y="91"/>
                  <a:pt x="87" y="91"/>
                  <a:pt x="89" y="91"/>
                </a:cubicBezTo>
                <a:cubicBezTo>
                  <a:pt x="89" y="91"/>
                  <a:pt x="90" y="91"/>
                  <a:pt x="90" y="91"/>
                </a:cubicBezTo>
                <a:cubicBezTo>
                  <a:pt x="91" y="91"/>
                  <a:pt x="91" y="92"/>
                  <a:pt x="92" y="92"/>
                </a:cubicBezTo>
                <a:cubicBezTo>
                  <a:pt x="92" y="92"/>
                  <a:pt x="92" y="92"/>
                  <a:pt x="93" y="92"/>
                </a:cubicBezTo>
                <a:cubicBezTo>
                  <a:pt x="93" y="92"/>
                  <a:pt x="94" y="92"/>
                  <a:pt x="94" y="92"/>
                </a:cubicBezTo>
                <a:cubicBezTo>
                  <a:pt x="95" y="92"/>
                  <a:pt x="95" y="92"/>
                  <a:pt x="95" y="92"/>
                </a:cubicBezTo>
                <a:cubicBezTo>
                  <a:pt x="97" y="92"/>
                  <a:pt x="98" y="93"/>
                  <a:pt x="99" y="93"/>
                </a:cubicBezTo>
                <a:cubicBezTo>
                  <a:pt x="100" y="93"/>
                  <a:pt x="100" y="93"/>
                  <a:pt x="101" y="94"/>
                </a:cubicBezTo>
                <a:cubicBezTo>
                  <a:pt x="101" y="94"/>
                  <a:pt x="101" y="93"/>
                  <a:pt x="102" y="93"/>
                </a:cubicBezTo>
                <a:cubicBezTo>
                  <a:pt x="102" y="93"/>
                  <a:pt x="102" y="94"/>
                  <a:pt x="103" y="94"/>
                </a:cubicBezTo>
                <a:cubicBezTo>
                  <a:pt x="103" y="94"/>
                  <a:pt x="103" y="94"/>
                  <a:pt x="104" y="94"/>
                </a:cubicBezTo>
                <a:cubicBezTo>
                  <a:pt x="105" y="94"/>
                  <a:pt x="105" y="95"/>
                  <a:pt x="106" y="96"/>
                </a:cubicBezTo>
                <a:cubicBezTo>
                  <a:pt x="106" y="96"/>
                  <a:pt x="106" y="96"/>
                  <a:pt x="107" y="96"/>
                </a:cubicBezTo>
                <a:cubicBezTo>
                  <a:pt x="107" y="96"/>
                  <a:pt x="107" y="96"/>
                  <a:pt x="107" y="96"/>
                </a:cubicBezTo>
                <a:cubicBezTo>
                  <a:pt x="108" y="97"/>
                  <a:pt x="109" y="97"/>
                  <a:pt x="110" y="97"/>
                </a:cubicBezTo>
                <a:cubicBezTo>
                  <a:pt x="111" y="97"/>
                  <a:pt x="111" y="97"/>
                  <a:pt x="112" y="97"/>
                </a:cubicBezTo>
                <a:cubicBezTo>
                  <a:pt x="112" y="97"/>
                  <a:pt x="113" y="97"/>
                  <a:pt x="114" y="97"/>
                </a:cubicBezTo>
                <a:cubicBezTo>
                  <a:pt x="117" y="98"/>
                  <a:pt x="120" y="98"/>
                  <a:pt x="122" y="99"/>
                </a:cubicBezTo>
                <a:cubicBezTo>
                  <a:pt x="123" y="99"/>
                  <a:pt x="123" y="99"/>
                  <a:pt x="124" y="98"/>
                </a:cubicBezTo>
                <a:cubicBezTo>
                  <a:pt x="125" y="98"/>
                  <a:pt x="126" y="99"/>
                  <a:pt x="126" y="99"/>
                </a:cubicBezTo>
                <a:cubicBezTo>
                  <a:pt x="127" y="99"/>
                  <a:pt x="127" y="99"/>
                  <a:pt x="128" y="99"/>
                </a:cubicBezTo>
                <a:cubicBezTo>
                  <a:pt x="129" y="99"/>
                  <a:pt x="129" y="99"/>
                  <a:pt x="130" y="99"/>
                </a:cubicBezTo>
                <a:cubicBezTo>
                  <a:pt x="131" y="99"/>
                  <a:pt x="132" y="99"/>
                  <a:pt x="132" y="99"/>
                </a:cubicBezTo>
                <a:cubicBezTo>
                  <a:pt x="133" y="99"/>
                  <a:pt x="133" y="100"/>
                  <a:pt x="133" y="101"/>
                </a:cubicBezTo>
                <a:cubicBezTo>
                  <a:pt x="134" y="102"/>
                  <a:pt x="135" y="103"/>
                  <a:pt x="136" y="103"/>
                </a:cubicBezTo>
                <a:cubicBezTo>
                  <a:pt x="137" y="104"/>
                  <a:pt x="138" y="104"/>
                  <a:pt x="138" y="104"/>
                </a:cubicBezTo>
                <a:cubicBezTo>
                  <a:pt x="139" y="104"/>
                  <a:pt x="139" y="104"/>
                  <a:pt x="139" y="103"/>
                </a:cubicBezTo>
                <a:cubicBezTo>
                  <a:pt x="139" y="103"/>
                  <a:pt x="140" y="103"/>
                  <a:pt x="140" y="103"/>
                </a:cubicBezTo>
                <a:cubicBezTo>
                  <a:pt x="140" y="103"/>
                  <a:pt x="140" y="102"/>
                  <a:pt x="140" y="102"/>
                </a:cubicBezTo>
                <a:cubicBezTo>
                  <a:pt x="140" y="101"/>
                  <a:pt x="140" y="101"/>
                  <a:pt x="139" y="100"/>
                </a:cubicBezTo>
                <a:cubicBezTo>
                  <a:pt x="139" y="100"/>
                  <a:pt x="138" y="99"/>
                  <a:pt x="137" y="99"/>
                </a:cubicBezTo>
                <a:cubicBezTo>
                  <a:pt x="137" y="99"/>
                  <a:pt x="137" y="99"/>
                  <a:pt x="137" y="99"/>
                </a:cubicBezTo>
                <a:cubicBezTo>
                  <a:pt x="139" y="97"/>
                  <a:pt x="141" y="97"/>
                  <a:pt x="140" y="94"/>
                </a:cubicBezTo>
                <a:cubicBezTo>
                  <a:pt x="140" y="93"/>
                  <a:pt x="140" y="93"/>
                  <a:pt x="140" y="92"/>
                </a:cubicBezTo>
                <a:cubicBezTo>
                  <a:pt x="140" y="92"/>
                  <a:pt x="140" y="92"/>
                  <a:pt x="140" y="92"/>
                </a:cubicBezTo>
                <a:cubicBezTo>
                  <a:pt x="138" y="92"/>
                  <a:pt x="136" y="93"/>
                  <a:pt x="135" y="93"/>
                </a:cubicBezTo>
                <a:cubicBezTo>
                  <a:pt x="133" y="93"/>
                  <a:pt x="133" y="93"/>
                  <a:pt x="133" y="93"/>
                </a:cubicBezTo>
                <a:cubicBezTo>
                  <a:pt x="130" y="94"/>
                  <a:pt x="127" y="93"/>
                  <a:pt x="124" y="93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21" y="93"/>
                  <a:pt x="120" y="92"/>
                  <a:pt x="120" y="92"/>
                </a:cubicBezTo>
                <a:cubicBezTo>
                  <a:pt x="119" y="92"/>
                  <a:pt x="119" y="91"/>
                  <a:pt x="119" y="90"/>
                </a:cubicBezTo>
                <a:cubicBezTo>
                  <a:pt x="119" y="90"/>
                  <a:pt x="119" y="89"/>
                  <a:pt x="119" y="89"/>
                </a:cubicBezTo>
                <a:cubicBezTo>
                  <a:pt x="119" y="88"/>
                  <a:pt x="118" y="87"/>
                  <a:pt x="118" y="87"/>
                </a:cubicBezTo>
                <a:cubicBezTo>
                  <a:pt x="116" y="86"/>
                  <a:pt x="116" y="87"/>
                  <a:pt x="115" y="88"/>
                </a:cubicBezTo>
                <a:cubicBezTo>
                  <a:pt x="114" y="89"/>
                  <a:pt x="113" y="89"/>
                  <a:pt x="112" y="90"/>
                </a:cubicBezTo>
                <a:cubicBezTo>
                  <a:pt x="111" y="90"/>
                  <a:pt x="110" y="90"/>
                  <a:pt x="109" y="90"/>
                </a:cubicBezTo>
                <a:cubicBezTo>
                  <a:pt x="108" y="89"/>
                  <a:pt x="107" y="89"/>
                  <a:pt x="106" y="89"/>
                </a:cubicBezTo>
                <a:cubicBezTo>
                  <a:pt x="105" y="89"/>
                  <a:pt x="104" y="89"/>
                  <a:pt x="103" y="88"/>
                </a:cubicBezTo>
                <a:cubicBezTo>
                  <a:pt x="102" y="88"/>
                  <a:pt x="101" y="88"/>
                  <a:pt x="100" y="88"/>
                </a:cubicBezTo>
                <a:cubicBezTo>
                  <a:pt x="99" y="88"/>
                  <a:pt x="99" y="87"/>
                  <a:pt x="98" y="87"/>
                </a:cubicBezTo>
                <a:cubicBezTo>
                  <a:pt x="97" y="87"/>
                  <a:pt x="97" y="87"/>
                  <a:pt x="96" y="87"/>
                </a:cubicBezTo>
                <a:cubicBezTo>
                  <a:pt x="96" y="87"/>
                  <a:pt x="96" y="86"/>
                  <a:pt x="95" y="86"/>
                </a:cubicBezTo>
                <a:cubicBezTo>
                  <a:pt x="94" y="86"/>
                  <a:pt x="92" y="86"/>
                  <a:pt x="91" y="85"/>
                </a:cubicBezTo>
                <a:cubicBezTo>
                  <a:pt x="90" y="85"/>
                  <a:pt x="90" y="84"/>
                  <a:pt x="90" y="83"/>
                </a:cubicBezTo>
                <a:cubicBezTo>
                  <a:pt x="89" y="83"/>
                  <a:pt x="89" y="83"/>
                  <a:pt x="89" y="83"/>
                </a:cubicBezTo>
                <a:cubicBezTo>
                  <a:pt x="89" y="82"/>
                  <a:pt x="89" y="82"/>
                  <a:pt x="89" y="82"/>
                </a:cubicBezTo>
                <a:cubicBezTo>
                  <a:pt x="89" y="82"/>
                  <a:pt x="88" y="81"/>
                  <a:pt x="88" y="81"/>
                </a:cubicBezTo>
                <a:cubicBezTo>
                  <a:pt x="88" y="80"/>
                  <a:pt x="88" y="80"/>
                  <a:pt x="88" y="79"/>
                </a:cubicBezTo>
                <a:cubicBezTo>
                  <a:pt x="87" y="78"/>
                  <a:pt x="86" y="78"/>
                  <a:pt x="86" y="77"/>
                </a:cubicBezTo>
                <a:cubicBezTo>
                  <a:pt x="86" y="77"/>
                  <a:pt x="85" y="77"/>
                  <a:pt x="85" y="77"/>
                </a:cubicBezTo>
                <a:cubicBezTo>
                  <a:pt x="85" y="76"/>
                  <a:pt x="85" y="76"/>
                  <a:pt x="85" y="75"/>
                </a:cubicBezTo>
                <a:cubicBezTo>
                  <a:pt x="84" y="75"/>
                  <a:pt x="84" y="75"/>
                  <a:pt x="84" y="74"/>
                </a:cubicBezTo>
                <a:cubicBezTo>
                  <a:pt x="83" y="73"/>
                  <a:pt x="83" y="73"/>
                  <a:pt x="83" y="72"/>
                </a:cubicBezTo>
                <a:cubicBezTo>
                  <a:pt x="83" y="71"/>
                  <a:pt x="82" y="71"/>
                  <a:pt x="82" y="70"/>
                </a:cubicBezTo>
                <a:cubicBezTo>
                  <a:pt x="81" y="70"/>
                  <a:pt x="80" y="71"/>
                  <a:pt x="80" y="72"/>
                </a:cubicBezTo>
                <a:cubicBezTo>
                  <a:pt x="79" y="72"/>
                  <a:pt x="77" y="71"/>
                  <a:pt x="76" y="71"/>
                </a:cubicBezTo>
                <a:cubicBezTo>
                  <a:pt x="76" y="71"/>
                  <a:pt x="76" y="72"/>
                  <a:pt x="75" y="72"/>
                </a:cubicBezTo>
                <a:cubicBezTo>
                  <a:pt x="75" y="74"/>
                  <a:pt x="76" y="75"/>
                  <a:pt x="77" y="76"/>
                </a:cubicBezTo>
                <a:cubicBezTo>
                  <a:pt x="78" y="76"/>
                  <a:pt x="79" y="76"/>
                  <a:pt x="80" y="77"/>
                </a:cubicBezTo>
                <a:cubicBezTo>
                  <a:pt x="82" y="77"/>
                  <a:pt x="82" y="79"/>
                  <a:pt x="83" y="80"/>
                </a:cubicBezTo>
                <a:cubicBezTo>
                  <a:pt x="84" y="81"/>
                  <a:pt x="85" y="83"/>
                  <a:pt x="85" y="84"/>
                </a:cubicBezTo>
                <a:cubicBezTo>
                  <a:pt x="85" y="84"/>
                  <a:pt x="84" y="84"/>
                  <a:pt x="84" y="84"/>
                </a:cubicBezTo>
                <a:cubicBezTo>
                  <a:pt x="83" y="85"/>
                  <a:pt x="82" y="85"/>
                  <a:pt x="81" y="85"/>
                </a:cubicBezTo>
                <a:cubicBezTo>
                  <a:pt x="80" y="85"/>
                  <a:pt x="80" y="85"/>
                  <a:pt x="80" y="85"/>
                </a:cubicBezTo>
                <a:cubicBezTo>
                  <a:pt x="79" y="85"/>
                  <a:pt x="79" y="85"/>
                  <a:pt x="78" y="85"/>
                </a:cubicBezTo>
                <a:cubicBezTo>
                  <a:pt x="76" y="86"/>
                  <a:pt x="73" y="84"/>
                  <a:pt x="71" y="83"/>
                </a:cubicBezTo>
                <a:cubicBezTo>
                  <a:pt x="70" y="83"/>
                  <a:pt x="70" y="83"/>
                  <a:pt x="70" y="83"/>
                </a:cubicBezTo>
                <a:cubicBezTo>
                  <a:pt x="69" y="83"/>
                  <a:pt x="68" y="82"/>
                  <a:pt x="66" y="82"/>
                </a:cubicBezTo>
                <a:cubicBezTo>
                  <a:pt x="66" y="82"/>
                  <a:pt x="66" y="82"/>
                  <a:pt x="66" y="82"/>
                </a:cubicBezTo>
                <a:cubicBezTo>
                  <a:pt x="65" y="84"/>
                  <a:pt x="66" y="84"/>
                  <a:pt x="66" y="85"/>
                </a:cubicBezTo>
                <a:cubicBezTo>
                  <a:pt x="66" y="86"/>
                  <a:pt x="66" y="86"/>
                  <a:pt x="66" y="86"/>
                </a:cubicBezTo>
                <a:cubicBezTo>
                  <a:pt x="65" y="86"/>
                  <a:pt x="64" y="86"/>
                  <a:pt x="63" y="86"/>
                </a:cubicBezTo>
                <a:cubicBezTo>
                  <a:pt x="62" y="86"/>
                  <a:pt x="61" y="86"/>
                  <a:pt x="60" y="86"/>
                </a:cubicBezTo>
                <a:cubicBezTo>
                  <a:pt x="60" y="86"/>
                  <a:pt x="59" y="87"/>
                  <a:pt x="59" y="87"/>
                </a:cubicBezTo>
                <a:cubicBezTo>
                  <a:pt x="58" y="86"/>
                  <a:pt x="57" y="87"/>
                  <a:pt x="56" y="87"/>
                </a:cubicBezTo>
                <a:cubicBezTo>
                  <a:pt x="55" y="86"/>
                  <a:pt x="55" y="86"/>
                  <a:pt x="54" y="85"/>
                </a:cubicBezTo>
                <a:cubicBezTo>
                  <a:pt x="53" y="85"/>
                  <a:pt x="52" y="85"/>
                  <a:pt x="52" y="85"/>
                </a:cubicBezTo>
                <a:cubicBezTo>
                  <a:pt x="51" y="84"/>
                  <a:pt x="51" y="83"/>
                  <a:pt x="51" y="83"/>
                </a:cubicBezTo>
                <a:cubicBezTo>
                  <a:pt x="50" y="83"/>
                  <a:pt x="50" y="83"/>
                  <a:pt x="50" y="83"/>
                </a:cubicBezTo>
                <a:cubicBezTo>
                  <a:pt x="49" y="83"/>
                  <a:pt x="49" y="82"/>
                  <a:pt x="48" y="82"/>
                </a:cubicBezTo>
                <a:cubicBezTo>
                  <a:pt x="48" y="82"/>
                  <a:pt x="48" y="81"/>
                  <a:pt x="48" y="81"/>
                </a:cubicBezTo>
                <a:cubicBezTo>
                  <a:pt x="48" y="81"/>
                  <a:pt x="48" y="81"/>
                  <a:pt x="47" y="81"/>
                </a:cubicBezTo>
                <a:cubicBezTo>
                  <a:pt x="47" y="80"/>
                  <a:pt x="47" y="80"/>
                  <a:pt x="46" y="79"/>
                </a:cubicBezTo>
                <a:cubicBezTo>
                  <a:pt x="46" y="79"/>
                  <a:pt x="46" y="79"/>
                  <a:pt x="46" y="79"/>
                </a:cubicBezTo>
                <a:cubicBezTo>
                  <a:pt x="45" y="78"/>
                  <a:pt x="45" y="78"/>
                  <a:pt x="45" y="78"/>
                </a:cubicBezTo>
                <a:cubicBezTo>
                  <a:pt x="44" y="77"/>
                  <a:pt x="43" y="76"/>
                  <a:pt x="43" y="75"/>
                </a:cubicBezTo>
                <a:cubicBezTo>
                  <a:pt x="43" y="74"/>
                  <a:pt x="43" y="73"/>
                  <a:pt x="43" y="73"/>
                </a:cubicBezTo>
                <a:cubicBezTo>
                  <a:pt x="43" y="72"/>
                  <a:pt x="43" y="72"/>
                  <a:pt x="43" y="71"/>
                </a:cubicBezTo>
                <a:cubicBezTo>
                  <a:pt x="43" y="70"/>
                  <a:pt x="44" y="69"/>
                  <a:pt x="45" y="69"/>
                </a:cubicBezTo>
                <a:cubicBezTo>
                  <a:pt x="45" y="68"/>
                  <a:pt x="46" y="68"/>
                  <a:pt x="46" y="67"/>
                </a:cubicBezTo>
                <a:cubicBezTo>
                  <a:pt x="47" y="67"/>
                  <a:pt x="49" y="67"/>
                  <a:pt x="50" y="67"/>
                </a:cubicBezTo>
                <a:cubicBezTo>
                  <a:pt x="51" y="66"/>
                  <a:pt x="51" y="67"/>
                  <a:pt x="52" y="66"/>
                </a:cubicBezTo>
                <a:cubicBezTo>
                  <a:pt x="52" y="66"/>
                  <a:pt x="53" y="66"/>
                  <a:pt x="53" y="65"/>
                </a:cubicBezTo>
                <a:cubicBezTo>
                  <a:pt x="53" y="64"/>
                  <a:pt x="52" y="62"/>
                  <a:pt x="52" y="62"/>
                </a:cubicBezTo>
                <a:cubicBezTo>
                  <a:pt x="51" y="62"/>
                  <a:pt x="51" y="62"/>
                  <a:pt x="51" y="62"/>
                </a:cubicBezTo>
                <a:cubicBezTo>
                  <a:pt x="50" y="61"/>
                  <a:pt x="50" y="61"/>
                  <a:pt x="50" y="60"/>
                </a:cubicBezTo>
                <a:cubicBezTo>
                  <a:pt x="50" y="60"/>
                  <a:pt x="49" y="60"/>
                  <a:pt x="49" y="59"/>
                </a:cubicBezTo>
                <a:cubicBezTo>
                  <a:pt x="49" y="59"/>
                  <a:pt x="49" y="58"/>
                  <a:pt x="49" y="57"/>
                </a:cubicBezTo>
                <a:cubicBezTo>
                  <a:pt x="49" y="57"/>
                  <a:pt x="48" y="57"/>
                  <a:pt x="48" y="57"/>
                </a:cubicBezTo>
                <a:cubicBezTo>
                  <a:pt x="48" y="56"/>
                  <a:pt x="48" y="56"/>
                  <a:pt x="48" y="55"/>
                </a:cubicBezTo>
                <a:cubicBezTo>
                  <a:pt x="47" y="54"/>
                  <a:pt x="46" y="52"/>
                  <a:pt x="45" y="50"/>
                </a:cubicBezTo>
                <a:cubicBezTo>
                  <a:pt x="45" y="49"/>
                  <a:pt x="45" y="49"/>
                  <a:pt x="45" y="49"/>
                </a:cubicBezTo>
                <a:cubicBezTo>
                  <a:pt x="45" y="47"/>
                  <a:pt x="46" y="45"/>
                  <a:pt x="47" y="44"/>
                </a:cubicBezTo>
                <a:cubicBezTo>
                  <a:pt x="47" y="44"/>
                  <a:pt x="47" y="43"/>
                  <a:pt x="48" y="42"/>
                </a:cubicBezTo>
                <a:cubicBezTo>
                  <a:pt x="48" y="42"/>
                  <a:pt x="51" y="40"/>
                  <a:pt x="51" y="40"/>
                </a:cubicBezTo>
                <a:cubicBezTo>
                  <a:pt x="51" y="40"/>
                  <a:pt x="53" y="40"/>
                  <a:pt x="53" y="40"/>
                </a:cubicBezTo>
                <a:cubicBezTo>
                  <a:pt x="54" y="40"/>
                  <a:pt x="55" y="40"/>
                  <a:pt x="55" y="40"/>
                </a:cubicBezTo>
                <a:cubicBezTo>
                  <a:pt x="56" y="39"/>
                  <a:pt x="57" y="39"/>
                  <a:pt x="57" y="39"/>
                </a:cubicBezTo>
                <a:cubicBezTo>
                  <a:pt x="58" y="39"/>
                  <a:pt x="59" y="38"/>
                  <a:pt x="60" y="38"/>
                </a:cubicBezTo>
                <a:cubicBezTo>
                  <a:pt x="61" y="38"/>
                  <a:pt x="62" y="38"/>
                  <a:pt x="63" y="38"/>
                </a:cubicBezTo>
                <a:cubicBezTo>
                  <a:pt x="63" y="38"/>
                  <a:pt x="64" y="39"/>
                  <a:pt x="64" y="40"/>
                </a:cubicBezTo>
                <a:cubicBezTo>
                  <a:pt x="65" y="41"/>
                  <a:pt x="66" y="42"/>
                  <a:pt x="67" y="44"/>
                </a:cubicBezTo>
                <a:cubicBezTo>
                  <a:pt x="67" y="44"/>
                  <a:pt x="67" y="44"/>
                  <a:pt x="68" y="44"/>
                </a:cubicBezTo>
                <a:cubicBezTo>
                  <a:pt x="68" y="45"/>
                  <a:pt x="69" y="46"/>
                  <a:pt x="69" y="46"/>
                </a:cubicBezTo>
                <a:cubicBezTo>
                  <a:pt x="70" y="46"/>
                  <a:pt x="71" y="46"/>
                  <a:pt x="72" y="46"/>
                </a:cubicBezTo>
                <a:cubicBezTo>
                  <a:pt x="72" y="45"/>
                  <a:pt x="72" y="45"/>
                  <a:pt x="72" y="45"/>
                </a:cubicBezTo>
                <a:cubicBezTo>
                  <a:pt x="72" y="43"/>
                  <a:pt x="71" y="43"/>
                  <a:pt x="70" y="42"/>
                </a:cubicBezTo>
                <a:cubicBezTo>
                  <a:pt x="70" y="42"/>
                  <a:pt x="70" y="41"/>
                  <a:pt x="69" y="41"/>
                </a:cubicBezTo>
                <a:cubicBezTo>
                  <a:pt x="69" y="41"/>
                  <a:pt x="68" y="40"/>
                  <a:pt x="68" y="40"/>
                </a:cubicBezTo>
                <a:cubicBezTo>
                  <a:pt x="67" y="38"/>
                  <a:pt x="67" y="37"/>
                  <a:pt x="67" y="36"/>
                </a:cubicBezTo>
                <a:cubicBezTo>
                  <a:pt x="67" y="35"/>
                  <a:pt x="66" y="33"/>
                  <a:pt x="66" y="32"/>
                </a:cubicBezTo>
                <a:cubicBezTo>
                  <a:pt x="66" y="32"/>
                  <a:pt x="69" y="30"/>
                  <a:pt x="70" y="29"/>
                </a:cubicBezTo>
                <a:cubicBezTo>
                  <a:pt x="70" y="29"/>
                  <a:pt x="70" y="29"/>
                  <a:pt x="71" y="29"/>
                </a:cubicBezTo>
                <a:cubicBezTo>
                  <a:pt x="71" y="29"/>
                  <a:pt x="71" y="29"/>
                  <a:pt x="71" y="29"/>
                </a:cubicBezTo>
                <a:cubicBezTo>
                  <a:pt x="71" y="29"/>
                  <a:pt x="71" y="28"/>
                  <a:pt x="71" y="28"/>
                </a:cubicBezTo>
                <a:cubicBezTo>
                  <a:pt x="71" y="27"/>
                  <a:pt x="68" y="25"/>
                  <a:pt x="67" y="25"/>
                </a:cubicBezTo>
                <a:cubicBezTo>
                  <a:pt x="66" y="26"/>
                  <a:pt x="66" y="26"/>
                  <a:pt x="65" y="27"/>
                </a:cubicBezTo>
                <a:cubicBezTo>
                  <a:pt x="64" y="27"/>
                  <a:pt x="63" y="27"/>
                  <a:pt x="63" y="27"/>
                </a:cubicBezTo>
                <a:cubicBezTo>
                  <a:pt x="62" y="27"/>
                  <a:pt x="62" y="28"/>
                  <a:pt x="62" y="28"/>
                </a:cubicBezTo>
                <a:cubicBezTo>
                  <a:pt x="62" y="29"/>
                  <a:pt x="61" y="32"/>
                  <a:pt x="62" y="33"/>
                </a:cubicBezTo>
                <a:cubicBezTo>
                  <a:pt x="62" y="33"/>
                  <a:pt x="62" y="34"/>
                  <a:pt x="61" y="34"/>
                </a:cubicBezTo>
                <a:cubicBezTo>
                  <a:pt x="60" y="34"/>
                  <a:pt x="59" y="33"/>
                  <a:pt x="58" y="34"/>
                </a:cubicBezTo>
                <a:cubicBezTo>
                  <a:pt x="58" y="34"/>
                  <a:pt x="57" y="35"/>
                  <a:pt x="56" y="34"/>
                </a:cubicBezTo>
                <a:cubicBezTo>
                  <a:pt x="56" y="34"/>
                  <a:pt x="55" y="34"/>
                  <a:pt x="55" y="34"/>
                </a:cubicBezTo>
                <a:cubicBezTo>
                  <a:pt x="55" y="34"/>
                  <a:pt x="53" y="34"/>
                  <a:pt x="53" y="34"/>
                </a:cubicBezTo>
                <a:cubicBezTo>
                  <a:pt x="51" y="34"/>
                  <a:pt x="50" y="36"/>
                  <a:pt x="48" y="35"/>
                </a:cubicBezTo>
                <a:cubicBezTo>
                  <a:pt x="47" y="35"/>
                  <a:pt x="47" y="36"/>
                  <a:pt x="46" y="36"/>
                </a:cubicBezTo>
                <a:cubicBezTo>
                  <a:pt x="45" y="37"/>
                  <a:pt x="44" y="36"/>
                  <a:pt x="44" y="36"/>
                </a:cubicBezTo>
                <a:cubicBezTo>
                  <a:pt x="43" y="35"/>
                  <a:pt x="44" y="35"/>
                  <a:pt x="44" y="34"/>
                </a:cubicBezTo>
                <a:cubicBezTo>
                  <a:pt x="45" y="33"/>
                  <a:pt x="46" y="31"/>
                  <a:pt x="47" y="30"/>
                </a:cubicBezTo>
                <a:cubicBezTo>
                  <a:pt x="48" y="30"/>
                  <a:pt x="48" y="30"/>
                  <a:pt x="48" y="29"/>
                </a:cubicBezTo>
                <a:cubicBezTo>
                  <a:pt x="49" y="28"/>
                  <a:pt x="51" y="27"/>
                  <a:pt x="52" y="26"/>
                </a:cubicBezTo>
                <a:cubicBezTo>
                  <a:pt x="52" y="26"/>
                  <a:pt x="53" y="26"/>
                  <a:pt x="53" y="26"/>
                </a:cubicBezTo>
                <a:cubicBezTo>
                  <a:pt x="54" y="25"/>
                  <a:pt x="55" y="24"/>
                  <a:pt x="55" y="24"/>
                </a:cubicBezTo>
                <a:cubicBezTo>
                  <a:pt x="56" y="24"/>
                  <a:pt x="56" y="24"/>
                  <a:pt x="56" y="24"/>
                </a:cubicBezTo>
                <a:cubicBezTo>
                  <a:pt x="57" y="23"/>
                  <a:pt x="57" y="23"/>
                  <a:pt x="57" y="23"/>
                </a:cubicBezTo>
                <a:cubicBezTo>
                  <a:pt x="59" y="22"/>
                  <a:pt x="60" y="22"/>
                  <a:pt x="61" y="21"/>
                </a:cubicBezTo>
                <a:cubicBezTo>
                  <a:pt x="61" y="21"/>
                  <a:pt x="62" y="21"/>
                  <a:pt x="62" y="21"/>
                </a:cubicBezTo>
                <a:cubicBezTo>
                  <a:pt x="63" y="21"/>
                  <a:pt x="63" y="21"/>
                  <a:pt x="63" y="20"/>
                </a:cubicBezTo>
                <a:cubicBezTo>
                  <a:pt x="63" y="20"/>
                  <a:pt x="64" y="20"/>
                  <a:pt x="64" y="20"/>
                </a:cubicBezTo>
                <a:cubicBezTo>
                  <a:pt x="64" y="20"/>
                  <a:pt x="65" y="20"/>
                  <a:pt x="65" y="20"/>
                </a:cubicBezTo>
                <a:cubicBezTo>
                  <a:pt x="65" y="20"/>
                  <a:pt x="66" y="20"/>
                  <a:pt x="66" y="20"/>
                </a:cubicBezTo>
                <a:cubicBezTo>
                  <a:pt x="67" y="19"/>
                  <a:pt x="68" y="19"/>
                  <a:pt x="69" y="19"/>
                </a:cubicBezTo>
                <a:cubicBezTo>
                  <a:pt x="69" y="19"/>
                  <a:pt x="70" y="19"/>
                  <a:pt x="71" y="19"/>
                </a:cubicBezTo>
                <a:cubicBezTo>
                  <a:pt x="73" y="19"/>
                  <a:pt x="74" y="19"/>
                  <a:pt x="74" y="18"/>
                </a:cubicBezTo>
                <a:cubicBezTo>
                  <a:pt x="74" y="16"/>
                  <a:pt x="73" y="17"/>
                  <a:pt x="72" y="16"/>
                </a:cubicBezTo>
                <a:cubicBezTo>
                  <a:pt x="70" y="15"/>
                  <a:pt x="66" y="16"/>
                  <a:pt x="64" y="17"/>
                </a:cubicBezTo>
                <a:cubicBezTo>
                  <a:pt x="64" y="17"/>
                  <a:pt x="63" y="17"/>
                  <a:pt x="63" y="17"/>
                </a:cubicBezTo>
                <a:cubicBezTo>
                  <a:pt x="63" y="16"/>
                  <a:pt x="63" y="16"/>
                  <a:pt x="63" y="16"/>
                </a:cubicBezTo>
                <a:cubicBezTo>
                  <a:pt x="64" y="16"/>
                  <a:pt x="64" y="16"/>
                  <a:pt x="65" y="16"/>
                </a:cubicBezTo>
                <a:cubicBezTo>
                  <a:pt x="65" y="16"/>
                  <a:pt x="65" y="16"/>
                  <a:pt x="65" y="16"/>
                </a:cubicBezTo>
                <a:cubicBezTo>
                  <a:pt x="66" y="15"/>
                  <a:pt x="67" y="15"/>
                  <a:pt x="68" y="14"/>
                </a:cubicBezTo>
                <a:cubicBezTo>
                  <a:pt x="68" y="14"/>
                  <a:pt x="70" y="13"/>
                  <a:pt x="71" y="13"/>
                </a:cubicBezTo>
                <a:cubicBezTo>
                  <a:pt x="71" y="13"/>
                  <a:pt x="72" y="13"/>
                  <a:pt x="72" y="14"/>
                </a:cubicBezTo>
                <a:cubicBezTo>
                  <a:pt x="73" y="14"/>
                  <a:pt x="74" y="14"/>
                  <a:pt x="74" y="14"/>
                </a:cubicBezTo>
                <a:cubicBezTo>
                  <a:pt x="75" y="14"/>
                  <a:pt x="75" y="14"/>
                  <a:pt x="76" y="15"/>
                </a:cubicBezTo>
                <a:cubicBezTo>
                  <a:pt x="76" y="16"/>
                  <a:pt x="75" y="17"/>
                  <a:pt x="75" y="19"/>
                </a:cubicBezTo>
                <a:cubicBezTo>
                  <a:pt x="75" y="19"/>
                  <a:pt x="75" y="21"/>
                  <a:pt x="75" y="22"/>
                </a:cubicBezTo>
                <a:cubicBezTo>
                  <a:pt x="76" y="22"/>
                  <a:pt x="76" y="23"/>
                  <a:pt x="76" y="23"/>
                </a:cubicBezTo>
                <a:cubicBezTo>
                  <a:pt x="76" y="23"/>
                  <a:pt x="76" y="24"/>
                  <a:pt x="76" y="24"/>
                </a:cubicBezTo>
                <a:cubicBezTo>
                  <a:pt x="76" y="24"/>
                  <a:pt x="76" y="25"/>
                  <a:pt x="76" y="26"/>
                </a:cubicBezTo>
                <a:cubicBezTo>
                  <a:pt x="77" y="28"/>
                  <a:pt x="80" y="29"/>
                  <a:pt x="81" y="30"/>
                </a:cubicBezTo>
                <a:cubicBezTo>
                  <a:pt x="81" y="31"/>
                  <a:pt x="81" y="31"/>
                  <a:pt x="80" y="32"/>
                </a:cubicBezTo>
                <a:cubicBezTo>
                  <a:pt x="80" y="32"/>
                  <a:pt x="80" y="33"/>
                  <a:pt x="80" y="33"/>
                </a:cubicBezTo>
                <a:cubicBezTo>
                  <a:pt x="79" y="34"/>
                  <a:pt x="80" y="35"/>
                  <a:pt x="79" y="36"/>
                </a:cubicBezTo>
                <a:cubicBezTo>
                  <a:pt x="79" y="36"/>
                  <a:pt x="79" y="38"/>
                  <a:pt x="79" y="38"/>
                </a:cubicBezTo>
                <a:cubicBezTo>
                  <a:pt x="79" y="39"/>
                  <a:pt x="79" y="39"/>
                  <a:pt x="79" y="40"/>
                </a:cubicBezTo>
                <a:cubicBezTo>
                  <a:pt x="79" y="41"/>
                  <a:pt x="79" y="42"/>
                  <a:pt x="79" y="43"/>
                </a:cubicBezTo>
                <a:cubicBezTo>
                  <a:pt x="80" y="44"/>
                  <a:pt x="80" y="44"/>
                  <a:pt x="81" y="45"/>
                </a:cubicBezTo>
                <a:cubicBezTo>
                  <a:pt x="81" y="45"/>
                  <a:pt x="81" y="45"/>
                  <a:pt x="81" y="45"/>
                </a:cubicBezTo>
                <a:cubicBezTo>
                  <a:pt x="82" y="45"/>
                  <a:pt x="82" y="45"/>
                  <a:pt x="82" y="45"/>
                </a:cubicBezTo>
                <a:cubicBezTo>
                  <a:pt x="83" y="43"/>
                  <a:pt x="82" y="41"/>
                  <a:pt x="82" y="40"/>
                </a:cubicBezTo>
                <a:cubicBezTo>
                  <a:pt x="82" y="38"/>
                  <a:pt x="82" y="38"/>
                  <a:pt x="82" y="38"/>
                </a:cubicBezTo>
                <a:cubicBezTo>
                  <a:pt x="83" y="37"/>
                  <a:pt x="83" y="35"/>
                  <a:pt x="84" y="35"/>
                </a:cubicBezTo>
                <a:cubicBezTo>
                  <a:pt x="84" y="34"/>
                  <a:pt x="85" y="34"/>
                  <a:pt x="85" y="33"/>
                </a:cubicBezTo>
                <a:cubicBezTo>
                  <a:pt x="86" y="32"/>
                  <a:pt x="86" y="31"/>
                  <a:pt x="87" y="31"/>
                </a:cubicBezTo>
                <a:cubicBezTo>
                  <a:pt x="88" y="30"/>
                  <a:pt x="91" y="31"/>
                  <a:pt x="92" y="31"/>
                </a:cubicBezTo>
                <a:cubicBezTo>
                  <a:pt x="93" y="31"/>
                  <a:pt x="93" y="30"/>
                  <a:pt x="93" y="30"/>
                </a:cubicBezTo>
                <a:cubicBezTo>
                  <a:pt x="93" y="29"/>
                  <a:pt x="92" y="27"/>
                  <a:pt x="91" y="27"/>
                </a:cubicBezTo>
                <a:cubicBezTo>
                  <a:pt x="89" y="26"/>
                  <a:pt x="88" y="27"/>
                  <a:pt x="87" y="26"/>
                </a:cubicBezTo>
                <a:cubicBezTo>
                  <a:pt x="84" y="26"/>
                  <a:pt x="82" y="25"/>
                  <a:pt x="81" y="23"/>
                </a:cubicBezTo>
                <a:cubicBezTo>
                  <a:pt x="81" y="22"/>
                  <a:pt x="81" y="22"/>
                  <a:pt x="81" y="22"/>
                </a:cubicBezTo>
                <a:cubicBezTo>
                  <a:pt x="80" y="19"/>
                  <a:pt x="81" y="18"/>
                  <a:pt x="83" y="18"/>
                </a:cubicBezTo>
                <a:cubicBezTo>
                  <a:pt x="84" y="18"/>
                  <a:pt x="84" y="18"/>
                  <a:pt x="85" y="17"/>
                </a:cubicBezTo>
                <a:cubicBezTo>
                  <a:pt x="85" y="17"/>
                  <a:pt x="85" y="16"/>
                  <a:pt x="85" y="15"/>
                </a:cubicBezTo>
                <a:cubicBezTo>
                  <a:pt x="84" y="14"/>
                  <a:pt x="84" y="13"/>
                  <a:pt x="83" y="12"/>
                </a:cubicBezTo>
                <a:cubicBezTo>
                  <a:pt x="83" y="12"/>
                  <a:pt x="82" y="11"/>
                  <a:pt x="82" y="11"/>
                </a:cubicBezTo>
                <a:cubicBezTo>
                  <a:pt x="82" y="10"/>
                  <a:pt x="82" y="9"/>
                  <a:pt x="83" y="9"/>
                </a:cubicBezTo>
                <a:cubicBezTo>
                  <a:pt x="83" y="8"/>
                  <a:pt x="83" y="8"/>
                  <a:pt x="83" y="8"/>
                </a:cubicBezTo>
                <a:cubicBezTo>
                  <a:pt x="84" y="7"/>
                  <a:pt x="88" y="6"/>
                  <a:pt x="89" y="6"/>
                </a:cubicBezTo>
                <a:cubicBezTo>
                  <a:pt x="90" y="6"/>
                  <a:pt x="91" y="6"/>
                  <a:pt x="92" y="6"/>
                </a:cubicBezTo>
                <a:cubicBezTo>
                  <a:pt x="94" y="5"/>
                  <a:pt x="95" y="5"/>
                  <a:pt x="96" y="5"/>
                </a:cubicBezTo>
                <a:cubicBezTo>
                  <a:pt x="96" y="6"/>
                  <a:pt x="97" y="7"/>
                  <a:pt x="97" y="7"/>
                </a:cubicBezTo>
                <a:cubicBezTo>
                  <a:pt x="98" y="8"/>
                  <a:pt x="99" y="7"/>
                  <a:pt x="99" y="8"/>
                </a:cubicBezTo>
                <a:cubicBezTo>
                  <a:pt x="99" y="12"/>
                  <a:pt x="94" y="10"/>
                  <a:pt x="92" y="11"/>
                </a:cubicBezTo>
                <a:cubicBezTo>
                  <a:pt x="91" y="11"/>
                  <a:pt x="91" y="12"/>
                  <a:pt x="91" y="13"/>
                </a:cubicBezTo>
                <a:cubicBezTo>
                  <a:pt x="92" y="13"/>
                  <a:pt x="92" y="14"/>
                  <a:pt x="92" y="14"/>
                </a:cubicBezTo>
                <a:cubicBezTo>
                  <a:pt x="93" y="14"/>
                  <a:pt x="94" y="15"/>
                  <a:pt x="95" y="15"/>
                </a:cubicBezTo>
                <a:cubicBezTo>
                  <a:pt x="95" y="16"/>
                  <a:pt x="95" y="17"/>
                  <a:pt x="95" y="17"/>
                </a:cubicBezTo>
                <a:cubicBezTo>
                  <a:pt x="96" y="18"/>
                  <a:pt x="96" y="19"/>
                  <a:pt x="96" y="19"/>
                </a:cubicBezTo>
                <a:cubicBezTo>
                  <a:pt x="96" y="19"/>
                  <a:pt x="96" y="20"/>
                  <a:pt x="96" y="20"/>
                </a:cubicBezTo>
                <a:cubicBezTo>
                  <a:pt x="97" y="20"/>
                  <a:pt x="97" y="21"/>
                  <a:pt x="97" y="21"/>
                </a:cubicBezTo>
                <a:cubicBezTo>
                  <a:pt x="98" y="21"/>
                  <a:pt x="98" y="22"/>
                  <a:pt x="98" y="23"/>
                </a:cubicBezTo>
                <a:cubicBezTo>
                  <a:pt x="98" y="23"/>
                  <a:pt x="99" y="23"/>
                  <a:pt x="99" y="24"/>
                </a:cubicBezTo>
                <a:cubicBezTo>
                  <a:pt x="99" y="24"/>
                  <a:pt x="99" y="25"/>
                  <a:pt x="99" y="25"/>
                </a:cubicBezTo>
                <a:cubicBezTo>
                  <a:pt x="100" y="25"/>
                  <a:pt x="100" y="25"/>
                  <a:pt x="100" y="26"/>
                </a:cubicBezTo>
                <a:cubicBezTo>
                  <a:pt x="100" y="26"/>
                  <a:pt x="100" y="26"/>
                  <a:pt x="100" y="26"/>
                </a:cubicBezTo>
                <a:cubicBezTo>
                  <a:pt x="100" y="26"/>
                  <a:pt x="100" y="27"/>
                  <a:pt x="100" y="27"/>
                </a:cubicBezTo>
                <a:cubicBezTo>
                  <a:pt x="100" y="27"/>
                  <a:pt x="100" y="28"/>
                  <a:pt x="100" y="28"/>
                </a:cubicBezTo>
                <a:cubicBezTo>
                  <a:pt x="100" y="29"/>
                  <a:pt x="101" y="30"/>
                  <a:pt x="101" y="31"/>
                </a:cubicBezTo>
                <a:cubicBezTo>
                  <a:pt x="101" y="32"/>
                  <a:pt x="101" y="32"/>
                  <a:pt x="101" y="32"/>
                </a:cubicBezTo>
                <a:cubicBezTo>
                  <a:pt x="101" y="32"/>
                  <a:pt x="101" y="32"/>
                  <a:pt x="101" y="33"/>
                </a:cubicBezTo>
                <a:cubicBezTo>
                  <a:pt x="102" y="33"/>
                  <a:pt x="101" y="34"/>
                  <a:pt x="101" y="34"/>
                </a:cubicBezTo>
                <a:cubicBezTo>
                  <a:pt x="101" y="35"/>
                  <a:pt x="101" y="35"/>
                  <a:pt x="101" y="35"/>
                </a:cubicBezTo>
                <a:cubicBezTo>
                  <a:pt x="101" y="36"/>
                  <a:pt x="101" y="37"/>
                  <a:pt x="100" y="37"/>
                </a:cubicBezTo>
                <a:cubicBezTo>
                  <a:pt x="100" y="38"/>
                  <a:pt x="100" y="38"/>
                  <a:pt x="100" y="38"/>
                </a:cubicBezTo>
                <a:cubicBezTo>
                  <a:pt x="100" y="39"/>
                  <a:pt x="99" y="40"/>
                  <a:pt x="100" y="41"/>
                </a:cubicBezTo>
                <a:cubicBezTo>
                  <a:pt x="100" y="42"/>
                  <a:pt x="99" y="44"/>
                  <a:pt x="101" y="45"/>
                </a:cubicBezTo>
                <a:cubicBezTo>
                  <a:pt x="101" y="45"/>
                  <a:pt x="102" y="44"/>
                  <a:pt x="102" y="44"/>
                </a:cubicBezTo>
                <a:cubicBezTo>
                  <a:pt x="103" y="44"/>
                  <a:pt x="103" y="43"/>
                  <a:pt x="103" y="42"/>
                </a:cubicBezTo>
                <a:cubicBezTo>
                  <a:pt x="103" y="41"/>
                  <a:pt x="103" y="41"/>
                  <a:pt x="103" y="41"/>
                </a:cubicBezTo>
                <a:cubicBezTo>
                  <a:pt x="104" y="41"/>
                  <a:pt x="104" y="41"/>
                  <a:pt x="104" y="41"/>
                </a:cubicBezTo>
                <a:cubicBezTo>
                  <a:pt x="105" y="39"/>
                  <a:pt x="105" y="38"/>
                  <a:pt x="105" y="37"/>
                </a:cubicBezTo>
                <a:cubicBezTo>
                  <a:pt x="106" y="35"/>
                  <a:pt x="107" y="33"/>
                  <a:pt x="108" y="32"/>
                </a:cubicBezTo>
                <a:cubicBezTo>
                  <a:pt x="109" y="31"/>
                  <a:pt x="111" y="29"/>
                  <a:pt x="112" y="28"/>
                </a:cubicBezTo>
                <a:cubicBezTo>
                  <a:pt x="113" y="28"/>
                  <a:pt x="113" y="28"/>
                  <a:pt x="113" y="28"/>
                </a:cubicBezTo>
                <a:cubicBezTo>
                  <a:pt x="114" y="28"/>
                  <a:pt x="114" y="27"/>
                  <a:pt x="114" y="27"/>
                </a:cubicBezTo>
                <a:cubicBezTo>
                  <a:pt x="114" y="25"/>
                  <a:pt x="112" y="24"/>
                  <a:pt x="110" y="24"/>
                </a:cubicBezTo>
                <a:cubicBezTo>
                  <a:pt x="110" y="23"/>
                  <a:pt x="109" y="22"/>
                  <a:pt x="108" y="22"/>
                </a:cubicBezTo>
                <a:cubicBezTo>
                  <a:pt x="108" y="21"/>
                  <a:pt x="107" y="21"/>
                  <a:pt x="107" y="21"/>
                </a:cubicBezTo>
                <a:cubicBezTo>
                  <a:pt x="106" y="21"/>
                  <a:pt x="105" y="19"/>
                  <a:pt x="105" y="19"/>
                </a:cubicBezTo>
                <a:cubicBezTo>
                  <a:pt x="104" y="18"/>
                  <a:pt x="105" y="16"/>
                  <a:pt x="104" y="15"/>
                </a:cubicBezTo>
                <a:cubicBezTo>
                  <a:pt x="104" y="15"/>
                  <a:pt x="104" y="15"/>
                  <a:pt x="104" y="14"/>
                </a:cubicBezTo>
                <a:cubicBezTo>
                  <a:pt x="104" y="14"/>
                  <a:pt x="104" y="14"/>
                  <a:pt x="104" y="13"/>
                </a:cubicBezTo>
                <a:cubicBezTo>
                  <a:pt x="105" y="12"/>
                  <a:pt x="104" y="12"/>
                  <a:pt x="104" y="11"/>
                </a:cubicBezTo>
                <a:cubicBezTo>
                  <a:pt x="105" y="9"/>
                  <a:pt x="106" y="7"/>
                  <a:pt x="107" y="6"/>
                </a:cubicBezTo>
                <a:cubicBezTo>
                  <a:pt x="108" y="6"/>
                  <a:pt x="108" y="6"/>
                  <a:pt x="109" y="6"/>
                </a:cubicBezTo>
                <a:cubicBezTo>
                  <a:pt x="109" y="5"/>
                  <a:pt x="109" y="5"/>
                  <a:pt x="109" y="5"/>
                </a:cubicBezTo>
                <a:cubicBezTo>
                  <a:pt x="110" y="5"/>
                  <a:pt x="112" y="5"/>
                  <a:pt x="113" y="6"/>
                </a:cubicBezTo>
                <a:cubicBezTo>
                  <a:pt x="114" y="6"/>
                  <a:pt x="114" y="7"/>
                  <a:pt x="115" y="7"/>
                </a:cubicBezTo>
                <a:cubicBezTo>
                  <a:pt x="115" y="7"/>
                  <a:pt x="116" y="7"/>
                  <a:pt x="117" y="8"/>
                </a:cubicBezTo>
                <a:cubicBezTo>
                  <a:pt x="118" y="8"/>
                  <a:pt x="120" y="9"/>
                  <a:pt x="121" y="10"/>
                </a:cubicBezTo>
                <a:cubicBezTo>
                  <a:pt x="121" y="11"/>
                  <a:pt x="117" y="11"/>
                  <a:pt x="116" y="11"/>
                </a:cubicBezTo>
                <a:cubicBezTo>
                  <a:pt x="115" y="11"/>
                  <a:pt x="115" y="12"/>
                  <a:pt x="114" y="12"/>
                </a:cubicBezTo>
                <a:cubicBezTo>
                  <a:pt x="114" y="12"/>
                  <a:pt x="113" y="12"/>
                  <a:pt x="113" y="12"/>
                </a:cubicBezTo>
                <a:cubicBezTo>
                  <a:pt x="112" y="12"/>
                  <a:pt x="111" y="13"/>
                  <a:pt x="110" y="13"/>
                </a:cubicBezTo>
                <a:cubicBezTo>
                  <a:pt x="110" y="14"/>
                  <a:pt x="110" y="14"/>
                  <a:pt x="110" y="14"/>
                </a:cubicBezTo>
                <a:cubicBezTo>
                  <a:pt x="110" y="15"/>
                  <a:pt x="109" y="16"/>
                  <a:pt x="110" y="16"/>
                </a:cubicBezTo>
                <a:cubicBezTo>
                  <a:pt x="110" y="17"/>
                  <a:pt x="110" y="17"/>
                  <a:pt x="110" y="17"/>
                </a:cubicBezTo>
                <a:cubicBezTo>
                  <a:pt x="110" y="16"/>
                  <a:pt x="111" y="16"/>
                  <a:pt x="111" y="16"/>
                </a:cubicBezTo>
                <a:cubicBezTo>
                  <a:pt x="112" y="17"/>
                  <a:pt x="112" y="17"/>
                  <a:pt x="112" y="17"/>
                </a:cubicBezTo>
                <a:cubicBezTo>
                  <a:pt x="112" y="17"/>
                  <a:pt x="113" y="17"/>
                  <a:pt x="113" y="17"/>
                </a:cubicBezTo>
                <a:cubicBezTo>
                  <a:pt x="114" y="17"/>
                  <a:pt x="114" y="18"/>
                  <a:pt x="114" y="18"/>
                </a:cubicBezTo>
                <a:cubicBezTo>
                  <a:pt x="115" y="18"/>
                  <a:pt x="116" y="18"/>
                  <a:pt x="117" y="19"/>
                </a:cubicBezTo>
                <a:cubicBezTo>
                  <a:pt x="117" y="20"/>
                  <a:pt x="118" y="21"/>
                  <a:pt x="119" y="22"/>
                </a:cubicBezTo>
                <a:cubicBezTo>
                  <a:pt x="119" y="22"/>
                  <a:pt x="120" y="22"/>
                  <a:pt x="120" y="22"/>
                </a:cubicBezTo>
                <a:cubicBezTo>
                  <a:pt x="121" y="22"/>
                  <a:pt x="121" y="22"/>
                  <a:pt x="121" y="22"/>
                </a:cubicBezTo>
                <a:cubicBezTo>
                  <a:pt x="122" y="22"/>
                  <a:pt x="122" y="23"/>
                  <a:pt x="122" y="23"/>
                </a:cubicBezTo>
                <a:cubicBezTo>
                  <a:pt x="123" y="24"/>
                  <a:pt x="125" y="25"/>
                  <a:pt x="126" y="26"/>
                </a:cubicBezTo>
                <a:cubicBezTo>
                  <a:pt x="125" y="27"/>
                  <a:pt x="125" y="26"/>
                  <a:pt x="124" y="26"/>
                </a:cubicBezTo>
                <a:cubicBezTo>
                  <a:pt x="124" y="27"/>
                  <a:pt x="123" y="27"/>
                  <a:pt x="122" y="27"/>
                </a:cubicBezTo>
                <a:cubicBezTo>
                  <a:pt x="122" y="28"/>
                  <a:pt x="122" y="28"/>
                  <a:pt x="122" y="29"/>
                </a:cubicBezTo>
                <a:cubicBezTo>
                  <a:pt x="121" y="29"/>
                  <a:pt x="121" y="29"/>
                  <a:pt x="121" y="29"/>
                </a:cubicBezTo>
                <a:cubicBezTo>
                  <a:pt x="120" y="29"/>
                  <a:pt x="120" y="30"/>
                  <a:pt x="121" y="30"/>
                </a:cubicBezTo>
                <a:cubicBezTo>
                  <a:pt x="119" y="30"/>
                  <a:pt x="120" y="32"/>
                  <a:pt x="120" y="32"/>
                </a:cubicBezTo>
                <a:cubicBezTo>
                  <a:pt x="119" y="33"/>
                  <a:pt x="117" y="34"/>
                  <a:pt x="118" y="35"/>
                </a:cubicBezTo>
                <a:cubicBezTo>
                  <a:pt x="118" y="36"/>
                  <a:pt x="118" y="36"/>
                  <a:pt x="118" y="36"/>
                </a:cubicBezTo>
                <a:cubicBezTo>
                  <a:pt x="116" y="37"/>
                  <a:pt x="114" y="36"/>
                  <a:pt x="113" y="37"/>
                </a:cubicBezTo>
                <a:cubicBezTo>
                  <a:pt x="112" y="39"/>
                  <a:pt x="114" y="40"/>
                  <a:pt x="115" y="40"/>
                </a:cubicBezTo>
                <a:cubicBezTo>
                  <a:pt x="116" y="40"/>
                  <a:pt x="116" y="40"/>
                  <a:pt x="116" y="40"/>
                </a:cubicBezTo>
                <a:cubicBezTo>
                  <a:pt x="118" y="40"/>
                  <a:pt x="119" y="40"/>
                  <a:pt x="120" y="41"/>
                </a:cubicBezTo>
                <a:cubicBezTo>
                  <a:pt x="120" y="42"/>
                  <a:pt x="120" y="42"/>
                  <a:pt x="120" y="43"/>
                </a:cubicBezTo>
                <a:cubicBezTo>
                  <a:pt x="120" y="43"/>
                  <a:pt x="120" y="43"/>
                  <a:pt x="120" y="44"/>
                </a:cubicBezTo>
                <a:cubicBezTo>
                  <a:pt x="120" y="44"/>
                  <a:pt x="119" y="47"/>
                  <a:pt x="119" y="47"/>
                </a:cubicBezTo>
                <a:cubicBezTo>
                  <a:pt x="119" y="48"/>
                  <a:pt x="119" y="49"/>
                  <a:pt x="119" y="50"/>
                </a:cubicBezTo>
                <a:cubicBezTo>
                  <a:pt x="119" y="51"/>
                  <a:pt x="119" y="52"/>
                  <a:pt x="120" y="53"/>
                </a:cubicBezTo>
                <a:cubicBezTo>
                  <a:pt x="121" y="53"/>
                  <a:pt x="122" y="52"/>
                  <a:pt x="122" y="52"/>
                </a:cubicBezTo>
                <a:cubicBezTo>
                  <a:pt x="123" y="51"/>
                  <a:pt x="124" y="49"/>
                  <a:pt x="124" y="48"/>
                </a:cubicBezTo>
                <a:cubicBezTo>
                  <a:pt x="124" y="48"/>
                  <a:pt x="124" y="47"/>
                  <a:pt x="124" y="47"/>
                </a:cubicBezTo>
                <a:cubicBezTo>
                  <a:pt x="124" y="46"/>
                  <a:pt x="124" y="46"/>
                  <a:pt x="124" y="46"/>
                </a:cubicBezTo>
                <a:cubicBezTo>
                  <a:pt x="124" y="46"/>
                  <a:pt x="124" y="46"/>
                  <a:pt x="124" y="45"/>
                </a:cubicBezTo>
                <a:cubicBezTo>
                  <a:pt x="124" y="45"/>
                  <a:pt x="124" y="44"/>
                  <a:pt x="124" y="44"/>
                </a:cubicBezTo>
                <a:cubicBezTo>
                  <a:pt x="124" y="43"/>
                  <a:pt x="124" y="43"/>
                  <a:pt x="124" y="43"/>
                </a:cubicBezTo>
                <a:cubicBezTo>
                  <a:pt x="124" y="42"/>
                  <a:pt x="125" y="41"/>
                  <a:pt x="125" y="40"/>
                </a:cubicBezTo>
                <a:cubicBezTo>
                  <a:pt x="125" y="40"/>
                  <a:pt x="127" y="39"/>
                  <a:pt x="127" y="39"/>
                </a:cubicBezTo>
                <a:cubicBezTo>
                  <a:pt x="128" y="39"/>
                  <a:pt x="128" y="39"/>
                  <a:pt x="128" y="39"/>
                </a:cubicBezTo>
                <a:cubicBezTo>
                  <a:pt x="128" y="38"/>
                  <a:pt x="129" y="38"/>
                  <a:pt x="129" y="38"/>
                </a:cubicBezTo>
                <a:cubicBezTo>
                  <a:pt x="130" y="37"/>
                  <a:pt x="131" y="36"/>
                  <a:pt x="132" y="36"/>
                </a:cubicBezTo>
                <a:cubicBezTo>
                  <a:pt x="133" y="36"/>
                  <a:pt x="134" y="36"/>
                  <a:pt x="135" y="36"/>
                </a:cubicBezTo>
                <a:cubicBezTo>
                  <a:pt x="135" y="36"/>
                  <a:pt x="135" y="36"/>
                  <a:pt x="136" y="36"/>
                </a:cubicBezTo>
                <a:cubicBezTo>
                  <a:pt x="136" y="36"/>
                  <a:pt x="136" y="36"/>
                  <a:pt x="136" y="36"/>
                </a:cubicBezTo>
                <a:cubicBezTo>
                  <a:pt x="137" y="36"/>
                  <a:pt x="137" y="36"/>
                  <a:pt x="137" y="36"/>
                </a:cubicBezTo>
                <a:cubicBezTo>
                  <a:pt x="137" y="35"/>
                  <a:pt x="137" y="36"/>
                  <a:pt x="138" y="36"/>
                </a:cubicBezTo>
                <a:cubicBezTo>
                  <a:pt x="138" y="36"/>
                  <a:pt x="139" y="36"/>
                  <a:pt x="140" y="36"/>
                </a:cubicBezTo>
                <a:cubicBezTo>
                  <a:pt x="141" y="36"/>
                  <a:pt x="141" y="36"/>
                  <a:pt x="142" y="36"/>
                </a:cubicBezTo>
                <a:cubicBezTo>
                  <a:pt x="143" y="37"/>
                  <a:pt x="144" y="37"/>
                  <a:pt x="144" y="37"/>
                </a:cubicBezTo>
                <a:cubicBezTo>
                  <a:pt x="145" y="37"/>
                  <a:pt x="146" y="38"/>
                  <a:pt x="146" y="38"/>
                </a:cubicBezTo>
                <a:cubicBezTo>
                  <a:pt x="146" y="38"/>
                  <a:pt x="146" y="38"/>
                  <a:pt x="146" y="39"/>
                </a:cubicBezTo>
                <a:cubicBezTo>
                  <a:pt x="147" y="39"/>
                  <a:pt x="147" y="39"/>
                  <a:pt x="147" y="39"/>
                </a:cubicBezTo>
                <a:cubicBezTo>
                  <a:pt x="147" y="39"/>
                  <a:pt x="147" y="40"/>
                  <a:pt x="148" y="41"/>
                </a:cubicBezTo>
                <a:cubicBezTo>
                  <a:pt x="148" y="41"/>
                  <a:pt x="149" y="41"/>
                  <a:pt x="149" y="42"/>
                </a:cubicBezTo>
                <a:cubicBezTo>
                  <a:pt x="149" y="42"/>
                  <a:pt x="149" y="42"/>
                  <a:pt x="150" y="42"/>
                </a:cubicBezTo>
                <a:cubicBezTo>
                  <a:pt x="150" y="43"/>
                  <a:pt x="150" y="43"/>
                  <a:pt x="151" y="43"/>
                </a:cubicBezTo>
                <a:cubicBezTo>
                  <a:pt x="151" y="44"/>
                  <a:pt x="151" y="45"/>
                  <a:pt x="152" y="45"/>
                </a:cubicBezTo>
                <a:cubicBezTo>
                  <a:pt x="152" y="46"/>
                  <a:pt x="153" y="47"/>
                  <a:pt x="153" y="47"/>
                </a:cubicBezTo>
                <a:cubicBezTo>
                  <a:pt x="153" y="48"/>
                  <a:pt x="154" y="48"/>
                  <a:pt x="154" y="48"/>
                </a:cubicBezTo>
                <a:cubicBezTo>
                  <a:pt x="155" y="49"/>
                  <a:pt x="155" y="50"/>
                  <a:pt x="155" y="50"/>
                </a:cubicBezTo>
                <a:cubicBezTo>
                  <a:pt x="157" y="51"/>
                  <a:pt x="158" y="51"/>
                  <a:pt x="159" y="51"/>
                </a:cubicBezTo>
                <a:cubicBezTo>
                  <a:pt x="160" y="51"/>
                  <a:pt x="161" y="52"/>
                  <a:pt x="162" y="52"/>
                </a:cubicBezTo>
                <a:cubicBezTo>
                  <a:pt x="164" y="51"/>
                  <a:pt x="165" y="51"/>
                  <a:pt x="166" y="51"/>
                </a:cubicBezTo>
                <a:cubicBezTo>
                  <a:pt x="167" y="50"/>
                  <a:pt x="168" y="51"/>
                  <a:pt x="169" y="50"/>
                </a:cubicBezTo>
                <a:cubicBezTo>
                  <a:pt x="169" y="50"/>
                  <a:pt x="169" y="49"/>
                  <a:pt x="169" y="49"/>
                </a:cubicBezTo>
                <a:cubicBezTo>
                  <a:pt x="169" y="48"/>
                  <a:pt x="168" y="46"/>
                  <a:pt x="168" y="46"/>
                </a:cubicBezTo>
                <a:cubicBezTo>
                  <a:pt x="165" y="45"/>
                  <a:pt x="161" y="44"/>
                  <a:pt x="160" y="41"/>
                </a:cubicBezTo>
                <a:cubicBezTo>
                  <a:pt x="160" y="41"/>
                  <a:pt x="160" y="40"/>
                  <a:pt x="160" y="39"/>
                </a:cubicBezTo>
                <a:cubicBezTo>
                  <a:pt x="160" y="39"/>
                  <a:pt x="161" y="37"/>
                  <a:pt x="162" y="36"/>
                </a:cubicBezTo>
                <a:cubicBezTo>
                  <a:pt x="162" y="36"/>
                  <a:pt x="162" y="36"/>
                  <a:pt x="162" y="36"/>
                </a:cubicBezTo>
                <a:cubicBezTo>
                  <a:pt x="162" y="36"/>
                  <a:pt x="162" y="35"/>
                  <a:pt x="162" y="35"/>
                </a:cubicBezTo>
                <a:cubicBezTo>
                  <a:pt x="163" y="35"/>
                  <a:pt x="163" y="34"/>
                  <a:pt x="164" y="34"/>
                </a:cubicBezTo>
                <a:cubicBezTo>
                  <a:pt x="164" y="33"/>
                  <a:pt x="164" y="32"/>
                  <a:pt x="164" y="31"/>
                </a:cubicBezTo>
                <a:cubicBezTo>
                  <a:pt x="164" y="31"/>
                  <a:pt x="163" y="31"/>
                  <a:pt x="163" y="31"/>
                </a:cubicBezTo>
                <a:cubicBezTo>
                  <a:pt x="163" y="30"/>
                  <a:pt x="163" y="29"/>
                  <a:pt x="162" y="28"/>
                </a:cubicBezTo>
                <a:cubicBezTo>
                  <a:pt x="161" y="28"/>
                  <a:pt x="160" y="28"/>
                  <a:pt x="159" y="28"/>
                </a:cubicBezTo>
                <a:cubicBezTo>
                  <a:pt x="159" y="28"/>
                  <a:pt x="158" y="28"/>
                  <a:pt x="158" y="28"/>
                </a:cubicBezTo>
                <a:cubicBezTo>
                  <a:pt x="158" y="28"/>
                  <a:pt x="158" y="29"/>
                  <a:pt x="157" y="29"/>
                </a:cubicBezTo>
                <a:cubicBezTo>
                  <a:pt x="157" y="29"/>
                  <a:pt x="156" y="29"/>
                  <a:pt x="155" y="30"/>
                </a:cubicBezTo>
                <a:cubicBezTo>
                  <a:pt x="155" y="30"/>
                  <a:pt x="155" y="30"/>
                  <a:pt x="155" y="30"/>
                </a:cubicBezTo>
                <a:cubicBezTo>
                  <a:pt x="154" y="30"/>
                  <a:pt x="154" y="30"/>
                  <a:pt x="154" y="31"/>
                </a:cubicBezTo>
                <a:cubicBezTo>
                  <a:pt x="154" y="31"/>
                  <a:pt x="154" y="31"/>
                  <a:pt x="153" y="31"/>
                </a:cubicBezTo>
                <a:cubicBezTo>
                  <a:pt x="153" y="31"/>
                  <a:pt x="153" y="31"/>
                  <a:pt x="152" y="31"/>
                </a:cubicBezTo>
                <a:cubicBezTo>
                  <a:pt x="152" y="32"/>
                  <a:pt x="152" y="32"/>
                  <a:pt x="152" y="32"/>
                </a:cubicBezTo>
                <a:cubicBezTo>
                  <a:pt x="151" y="32"/>
                  <a:pt x="150" y="32"/>
                  <a:pt x="150" y="32"/>
                </a:cubicBezTo>
                <a:cubicBezTo>
                  <a:pt x="149" y="32"/>
                  <a:pt x="147" y="30"/>
                  <a:pt x="147" y="29"/>
                </a:cubicBezTo>
                <a:cubicBezTo>
                  <a:pt x="147" y="29"/>
                  <a:pt x="147" y="28"/>
                  <a:pt x="146" y="28"/>
                </a:cubicBezTo>
                <a:cubicBezTo>
                  <a:pt x="145" y="26"/>
                  <a:pt x="143" y="26"/>
                  <a:pt x="141" y="25"/>
                </a:cubicBezTo>
                <a:cubicBezTo>
                  <a:pt x="141" y="25"/>
                  <a:pt x="139" y="26"/>
                  <a:pt x="139" y="27"/>
                </a:cubicBezTo>
                <a:cubicBezTo>
                  <a:pt x="138" y="27"/>
                  <a:pt x="138" y="27"/>
                  <a:pt x="137" y="27"/>
                </a:cubicBezTo>
                <a:cubicBezTo>
                  <a:pt x="136" y="28"/>
                  <a:pt x="136" y="29"/>
                  <a:pt x="135" y="29"/>
                </a:cubicBezTo>
                <a:cubicBezTo>
                  <a:pt x="134" y="29"/>
                  <a:pt x="130" y="27"/>
                  <a:pt x="131" y="25"/>
                </a:cubicBezTo>
                <a:cubicBezTo>
                  <a:pt x="132" y="25"/>
                  <a:pt x="133" y="24"/>
                  <a:pt x="134" y="24"/>
                </a:cubicBezTo>
                <a:cubicBezTo>
                  <a:pt x="135" y="24"/>
                  <a:pt x="135" y="23"/>
                  <a:pt x="135" y="23"/>
                </a:cubicBezTo>
                <a:cubicBezTo>
                  <a:pt x="136" y="23"/>
                  <a:pt x="137" y="22"/>
                  <a:pt x="138" y="22"/>
                </a:cubicBezTo>
                <a:cubicBezTo>
                  <a:pt x="139" y="21"/>
                  <a:pt x="139" y="21"/>
                  <a:pt x="140" y="20"/>
                </a:cubicBezTo>
                <a:cubicBezTo>
                  <a:pt x="141" y="20"/>
                  <a:pt x="141" y="20"/>
                  <a:pt x="142" y="20"/>
                </a:cubicBezTo>
                <a:cubicBezTo>
                  <a:pt x="142" y="20"/>
                  <a:pt x="143" y="19"/>
                  <a:pt x="143" y="19"/>
                </a:cubicBezTo>
                <a:cubicBezTo>
                  <a:pt x="143" y="18"/>
                  <a:pt x="143" y="18"/>
                  <a:pt x="143" y="18"/>
                </a:cubicBezTo>
                <a:cubicBezTo>
                  <a:pt x="141" y="18"/>
                  <a:pt x="140" y="18"/>
                  <a:pt x="138" y="19"/>
                </a:cubicBezTo>
                <a:cubicBezTo>
                  <a:pt x="137" y="19"/>
                  <a:pt x="136" y="17"/>
                  <a:pt x="135" y="18"/>
                </a:cubicBezTo>
                <a:cubicBezTo>
                  <a:pt x="134" y="18"/>
                  <a:pt x="133" y="18"/>
                  <a:pt x="133" y="19"/>
                </a:cubicBezTo>
                <a:cubicBezTo>
                  <a:pt x="132" y="19"/>
                  <a:pt x="131" y="19"/>
                  <a:pt x="130" y="19"/>
                </a:cubicBezTo>
                <a:cubicBezTo>
                  <a:pt x="130" y="19"/>
                  <a:pt x="129" y="20"/>
                  <a:pt x="129" y="20"/>
                </a:cubicBezTo>
                <a:cubicBezTo>
                  <a:pt x="128" y="20"/>
                  <a:pt x="128" y="20"/>
                  <a:pt x="127" y="20"/>
                </a:cubicBezTo>
                <a:cubicBezTo>
                  <a:pt x="126" y="21"/>
                  <a:pt x="125" y="20"/>
                  <a:pt x="124" y="19"/>
                </a:cubicBezTo>
                <a:cubicBezTo>
                  <a:pt x="123" y="19"/>
                  <a:pt x="123" y="19"/>
                  <a:pt x="123" y="19"/>
                </a:cubicBezTo>
                <a:cubicBezTo>
                  <a:pt x="123" y="18"/>
                  <a:pt x="122" y="18"/>
                  <a:pt x="122" y="18"/>
                </a:cubicBezTo>
                <a:cubicBezTo>
                  <a:pt x="122" y="17"/>
                  <a:pt x="122" y="17"/>
                  <a:pt x="122" y="17"/>
                </a:cubicBezTo>
                <a:cubicBezTo>
                  <a:pt x="122" y="17"/>
                  <a:pt x="122" y="17"/>
                  <a:pt x="122" y="16"/>
                </a:cubicBezTo>
                <a:cubicBezTo>
                  <a:pt x="123" y="15"/>
                  <a:pt x="125" y="14"/>
                  <a:pt x="126" y="13"/>
                </a:cubicBezTo>
                <a:cubicBezTo>
                  <a:pt x="126" y="13"/>
                  <a:pt x="126" y="13"/>
                  <a:pt x="127" y="14"/>
                </a:cubicBezTo>
                <a:cubicBezTo>
                  <a:pt x="128" y="14"/>
                  <a:pt x="128" y="13"/>
                  <a:pt x="129" y="13"/>
                </a:cubicBezTo>
                <a:cubicBezTo>
                  <a:pt x="130" y="13"/>
                  <a:pt x="130" y="14"/>
                  <a:pt x="131" y="14"/>
                </a:cubicBezTo>
                <a:cubicBezTo>
                  <a:pt x="132" y="14"/>
                  <a:pt x="133" y="13"/>
                  <a:pt x="134" y="14"/>
                </a:cubicBezTo>
                <a:cubicBezTo>
                  <a:pt x="135" y="14"/>
                  <a:pt x="137" y="14"/>
                  <a:pt x="139" y="14"/>
                </a:cubicBezTo>
                <a:cubicBezTo>
                  <a:pt x="139" y="14"/>
                  <a:pt x="140" y="15"/>
                  <a:pt x="141" y="15"/>
                </a:cubicBezTo>
                <a:cubicBezTo>
                  <a:pt x="142" y="15"/>
                  <a:pt x="142" y="15"/>
                  <a:pt x="142" y="15"/>
                </a:cubicBezTo>
                <a:cubicBezTo>
                  <a:pt x="143" y="15"/>
                  <a:pt x="144" y="15"/>
                  <a:pt x="145" y="15"/>
                </a:cubicBezTo>
                <a:cubicBezTo>
                  <a:pt x="145" y="15"/>
                  <a:pt x="145" y="15"/>
                  <a:pt x="146" y="15"/>
                </a:cubicBezTo>
                <a:cubicBezTo>
                  <a:pt x="147" y="15"/>
                  <a:pt x="149" y="15"/>
                  <a:pt x="150" y="16"/>
                </a:cubicBezTo>
                <a:cubicBezTo>
                  <a:pt x="150" y="15"/>
                  <a:pt x="151" y="15"/>
                  <a:pt x="151" y="15"/>
                </a:cubicBezTo>
                <a:cubicBezTo>
                  <a:pt x="153" y="16"/>
                  <a:pt x="154" y="16"/>
                  <a:pt x="155" y="17"/>
                </a:cubicBezTo>
                <a:cubicBezTo>
                  <a:pt x="155" y="17"/>
                  <a:pt x="156" y="17"/>
                  <a:pt x="156" y="17"/>
                </a:cubicBezTo>
                <a:cubicBezTo>
                  <a:pt x="156" y="17"/>
                  <a:pt x="157" y="17"/>
                  <a:pt x="157" y="17"/>
                </a:cubicBezTo>
                <a:cubicBezTo>
                  <a:pt x="157" y="18"/>
                  <a:pt x="157" y="18"/>
                  <a:pt x="157" y="18"/>
                </a:cubicBezTo>
                <a:cubicBezTo>
                  <a:pt x="156" y="18"/>
                  <a:pt x="155" y="18"/>
                  <a:pt x="153" y="19"/>
                </a:cubicBezTo>
                <a:cubicBezTo>
                  <a:pt x="153" y="19"/>
                  <a:pt x="153" y="19"/>
                  <a:pt x="152" y="19"/>
                </a:cubicBezTo>
                <a:cubicBezTo>
                  <a:pt x="152" y="20"/>
                  <a:pt x="152" y="20"/>
                  <a:pt x="151" y="21"/>
                </a:cubicBezTo>
                <a:cubicBezTo>
                  <a:pt x="151" y="21"/>
                  <a:pt x="150" y="22"/>
                  <a:pt x="151" y="23"/>
                </a:cubicBezTo>
                <a:cubicBezTo>
                  <a:pt x="151" y="23"/>
                  <a:pt x="151" y="23"/>
                  <a:pt x="152" y="23"/>
                </a:cubicBezTo>
                <a:cubicBezTo>
                  <a:pt x="153" y="23"/>
                  <a:pt x="153" y="23"/>
                  <a:pt x="154" y="22"/>
                </a:cubicBezTo>
                <a:cubicBezTo>
                  <a:pt x="154" y="22"/>
                  <a:pt x="155" y="22"/>
                  <a:pt x="155" y="22"/>
                </a:cubicBezTo>
                <a:cubicBezTo>
                  <a:pt x="155" y="22"/>
                  <a:pt x="156" y="22"/>
                  <a:pt x="156" y="22"/>
                </a:cubicBezTo>
                <a:cubicBezTo>
                  <a:pt x="157" y="22"/>
                  <a:pt x="157" y="22"/>
                  <a:pt x="158" y="22"/>
                </a:cubicBezTo>
                <a:cubicBezTo>
                  <a:pt x="159" y="21"/>
                  <a:pt x="162" y="21"/>
                  <a:pt x="164" y="21"/>
                </a:cubicBezTo>
                <a:cubicBezTo>
                  <a:pt x="165" y="21"/>
                  <a:pt x="165" y="22"/>
                  <a:pt x="166" y="23"/>
                </a:cubicBezTo>
                <a:cubicBezTo>
                  <a:pt x="167" y="23"/>
                  <a:pt x="168" y="23"/>
                  <a:pt x="168" y="23"/>
                </a:cubicBezTo>
                <a:cubicBezTo>
                  <a:pt x="168" y="24"/>
                  <a:pt x="168" y="24"/>
                  <a:pt x="169" y="24"/>
                </a:cubicBezTo>
                <a:cubicBezTo>
                  <a:pt x="169" y="24"/>
                  <a:pt x="169" y="24"/>
                  <a:pt x="170" y="24"/>
                </a:cubicBezTo>
                <a:cubicBezTo>
                  <a:pt x="170" y="24"/>
                  <a:pt x="170" y="24"/>
                  <a:pt x="170" y="25"/>
                </a:cubicBezTo>
                <a:cubicBezTo>
                  <a:pt x="171" y="25"/>
                  <a:pt x="171" y="25"/>
                  <a:pt x="171" y="25"/>
                </a:cubicBezTo>
                <a:cubicBezTo>
                  <a:pt x="172" y="25"/>
                  <a:pt x="172" y="26"/>
                  <a:pt x="173" y="27"/>
                </a:cubicBezTo>
                <a:cubicBezTo>
                  <a:pt x="173" y="28"/>
                  <a:pt x="174" y="28"/>
                  <a:pt x="174" y="29"/>
                </a:cubicBezTo>
                <a:cubicBezTo>
                  <a:pt x="175" y="29"/>
                  <a:pt x="175" y="30"/>
                  <a:pt x="175" y="30"/>
                </a:cubicBezTo>
                <a:cubicBezTo>
                  <a:pt x="176" y="31"/>
                  <a:pt x="176" y="31"/>
                  <a:pt x="176" y="31"/>
                </a:cubicBezTo>
                <a:cubicBezTo>
                  <a:pt x="176" y="31"/>
                  <a:pt x="177" y="32"/>
                  <a:pt x="177" y="32"/>
                </a:cubicBezTo>
                <a:cubicBezTo>
                  <a:pt x="177" y="33"/>
                  <a:pt x="178" y="33"/>
                  <a:pt x="178" y="34"/>
                </a:cubicBezTo>
                <a:cubicBezTo>
                  <a:pt x="179" y="36"/>
                  <a:pt x="178" y="40"/>
                  <a:pt x="178" y="41"/>
                </a:cubicBezTo>
                <a:cubicBezTo>
                  <a:pt x="177" y="42"/>
                  <a:pt x="176" y="44"/>
                  <a:pt x="177" y="45"/>
                </a:cubicBezTo>
                <a:cubicBezTo>
                  <a:pt x="177" y="45"/>
                  <a:pt x="178" y="46"/>
                  <a:pt x="179" y="45"/>
                </a:cubicBezTo>
                <a:cubicBezTo>
                  <a:pt x="179" y="45"/>
                  <a:pt x="179" y="45"/>
                  <a:pt x="179" y="44"/>
                </a:cubicBezTo>
                <a:cubicBezTo>
                  <a:pt x="180" y="44"/>
                  <a:pt x="180" y="44"/>
                  <a:pt x="180" y="44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80" y="42"/>
                  <a:pt x="181" y="42"/>
                  <a:pt x="181" y="42"/>
                </a:cubicBezTo>
                <a:cubicBezTo>
                  <a:pt x="181" y="41"/>
                  <a:pt x="181" y="40"/>
                  <a:pt x="182" y="39"/>
                </a:cubicBezTo>
                <a:cubicBezTo>
                  <a:pt x="182" y="38"/>
                  <a:pt x="182" y="38"/>
                  <a:pt x="182" y="38"/>
                </a:cubicBezTo>
                <a:cubicBezTo>
                  <a:pt x="183" y="38"/>
                  <a:pt x="183" y="39"/>
                  <a:pt x="184" y="39"/>
                </a:cubicBezTo>
                <a:cubicBezTo>
                  <a:pt x="184" y="39"/>
                  <a:pt x="184" y="39"/>
                  <a:pt x="184" y="39"/>
                </a:cubicBezTo>
                <a:cubicBezTo>
                  <a:pt x="185" y="39"/>
                  <a:pt x="185" y="39"/>
                  <a:pt x="185" y="40"/>
                </a:cubicBezTo>
                <a:cubicBezTo>
                  <a:pt x="186" y="40"/>
                  <a:pt x="186" y="40"/>
                  <a:pt x="187" y="40"/>
                </a:cubicBezTo>
                <a:cubicBezTo>
                  <a:pt x="187" y="40"/>
                  <a:pt x="187" y="40"/>
                  <a:pt x="188" y="40"/>
                </a:cubicBezTo>
                <a:cubicBezTo>
                  <a:pt x="188" y="40"/>
                  <a:pt x="188" y="40"/>
                  <a:pt x="188" y="40"/>
                </a:cubicBezTo>
                <a:cubicBezTo>
                  <a:pt x="189" y="40"/>
                  <a:pt x="189" y="41"/>
                  <a:pt x="189" y="41"/>
                </a:cubicBezTo>
                <a:cubicBezTo>
                  <a:pt x="190" y="42"/>
                  <a:pt x="191" y="42"/>
                  <a:pt x="192" y="44"/>
                </a:cubicBezTo>
                <a:cubicBezTo>
                  <a:pt x="192" y="44"/>
                  <a:pt x="193" y="44"/>
                  <a:pt x="193" y="44"/>
                </a:cubicBezTo>
                <a:cubicBezTo>
                  <a:pt x="193" y="44"/>
                  <a:pt x="193" y="44"/>
                  <a:pt x="193" y="45"/>
                </a:cubicBezTo>
                <a:cubicBezTo>
                  <a:pt x="193" y="45"/>
                  <a:pt x="194" y="45"/>
                  <a:pt x="195" y="45"/>
                </a:cubicBezTo>
                <a:cubicBezTo>
                  <a:pt x="195" y="45"/>
                  <a:pt x="195" y="46"/>
                  <a:pt x="195" y="46"/>
                </a:cubicBezTo>
                <a:cubicBezTo>
                  <a:pt x="195" y="46"/>
                  <a:pt x="195" y="46"/>
                  <a:pt x="196" y="47"/>
                </a:cubicBezTo>
                <a:cubicBezTo>
                  <a:pt x="196" y="47"/>
                  <a:pt x="196" y="47"/>
                  <a:pt x="196" y="48"/>
                </a:cubicBezTo>
                <a:cubicBezTo>
                  <a:pt x="197" y="49"/>
                  <a:pt x="198" y="49"/>
                  <a:pt x="198" y="50"/>
                </a:cubicBezTo>
                <a:cubicBezTo>
                  <a:pt x="198" y="50"/>
                  <a:pt x="198" y="51"/>
                  <a:pt x="198" y="51"/>
                </a:cubicBezTo>
                <a:cubicBezTo>
                  <a:pt x="198" y="51"/>
                  <a:pt x="198" y="52"/>
                  <a:pt x="198" y="52"/>
                </a:cubicBezTo>
                <a:cubicBezTo>
                  <a:pt x="198" y="52"/>
                  <a:pt x="198" y="52"/>
                  <a:pt x="198" y="53"/>
                </a:cubicBezTo>
                <a:cubicBezTo>
                  <a:pt x="198" y="53"/>
                  <a:pt x="198" y="54"/>
                  <a:pt x="198" y="54"/>
                </a:cubicBezTo>
                <a:cubicBezTo>
                  <a:pt x="198" y="54"/>
                  <a:pt x="198" y="55"/>
                  <a:pt x="197" y="55"/>
                </a:cubicBezTo>
                <a:cubicBezTo>
                  <a:pt x="197" y="55"/>
                  <a:pt x="197" y="54"/>
                  <a:pt x="197" y="54"/>
                </a:cubicBezTo>
                <a:cubicBezTo>
                  <a:pt x="196" y="54"/>
                  <a:pt x="195" y="54"/>
                  <a:pt x="195" y="55"/>
                </a:cubicBezTo>
                <a:cubicBezTo>
                  <a:pt x="195" y="55"/>
                  <a:pt x="194" y="54"/>
                  <a:pt x="194" y="55"/>
                </a:cubicBezTo>
                <a:cubicBezTo>
                  <a:pt x="192" y="55"/>
                  <a:pt x="191" y="56"/>
                  <a:pt x="190" y="56"/>
                </a:cubicBezTo>
                <a:cubicBezTo>
                  <a:pt x="190" y="56"/>
                  <a:pt x="189" y="56"/>
                  <a:pt x="189" y="57"/>
                </a:cubicBezTo>
                <a:cubicBezTo>
                  <a:pt x="188" y="57"/>
                  <a:pt x="188" y="56"/>
                  <a:pt x="187" y="56"/>
                </a:cubicBezTo>
                <a:cubicBezTo>
                  <a:pt x="186" y="54"/>
                  <a:pt x="184" y="52"/>
                  <a:pt x="181" y="53"/>
                </a:cubicBezTo>
                <a:cubicBezTo>
                  <a:pt x="181" y="54"/>
                  <a:pt x="180" y="54"/>
                  <a:pt x="180" y="54"/>
                </a:cubicBezTo>
                <a:cubicBezTo>
                  <a:pt x="180" y="54"/>
                  <a:pt x="180" y="54"/>
                  <a:pt x="180" y="54"/>
                </a:cubicBezTo>
                <a:cubicBezTo>
                  <a:pt x="181" y="56"/>
                  <a:pt x="183" y="56"/>
                  <a:pt x="184" y="58"/>
                </a:cubicBezTo>
                <a:cubicBezTo>
                  <a:pt x="185" y="59"/>
                  <a:pt x="185" y="60"/>
                  <a:pt x="186" y="61"/>
                </a:cubicBezTo>
                <a:cubicBezTo>
                  <a:pt x="187" y="62"/>
                  <a:pt x="187" y="62"/>
                  <a:pt x="187" y="63"/>
                </a:cubicBezTo>
                <a:cubicBezTo>
                  <a:pt x="188" y="64"/>
                  <a:pt x="188" y="64"/>
                  <a:pt x="189" y="65"/>
                </a:cubicBezTo>
                <a:cubicBezTo>
                  <a:pt x="190" y="67"/>
                  <a:pt x="190" y="69"/>
                  <a:pt x="191" y="72"/>
                </a:cubicBezTo>
                <a:cubicBezTo>
                  <a:pt x="191" y="72"/>
                  <a:pt x="191" y="73"/>
                  <a:pt x="191" y="74"/>
                </a:cubicBezTo>
                <a:cubicBezTo>
                  <a:pt x="190" y="75"/>
                  <a:pt x="191" y="76"/>
                  <a:pt x="190" y="77"/>
                </a:cubicBezTo>
                <a:cubicBezTo>
                  <a:pt x="190" y="78"/>
                  <a:pt x="190" y="79"/>
                  <a:pt x="190" y="80"/>
                </a:cubicBezTo>
                <a:cubicBezTo>
                  <a:pt x="190" y="80"/>
                  <a:pt x="190" y="81"/>
                  <a:pt x="190" y="81"/>
                </a:cubicBezTo>
                <a:cubicBezTo>
                  <a:pt x="191" y="81"/>
                  <a:pt x="191" y="81"/>
                  <a:pt x="191" y="81"/>
                </a:cubicBezTo>
                <a:cubicBezTo>
                  <a:pt x="193" y="79"/>
                  <a:pt x="193" y="76"/>
                  <a:pt x="194" y="73"/>
                </a:cubicBezTo>
                <a:cubicBezTo>
                  <a:pt x="194" y="72"/>
                  <a:pt x="194" y="72"/>
                  <a:pt x="194" y="71"/>
                </a:cubicBezTo>
                <a:cubicBezTo>
                  <a:pt x="194" y="70"/>
                  <a:pt x="195" y="70"/>
                  <a:pt x="195" y="70"/>
                </a:cubicBezTo>
                <a:cubicBezTo>
                  <a:pt x="195" y="69"/>
                  <a:pt x="196" y="68"/>
                  <a:pt x="196" y="68"/>
                </a:cubicBezTo>
                <a:cubicBezTo>
                  <a:pt x="196" y="67"/>
                  <a:pt x="196" y="66"/>
                  <a:pt x="195" y="65"/>
                </a:cubicBezTo>
                <a:cubicBezTo>
                  <a:pt x="195" y="63"/>
                  <a:pt x="195" y="63"/>
                  <a:pt x="195" y="63"/>
                </a:cubicBezTo>
                <a:cubicBezTo>
                  <a:pt x="195" y="63"/>
                  <a:pt x="195" y="62"/>
                  <a:pt x="195" y="61"/>
                </a:cubicBezTo>
                <a:cubicBezTo>
                  <a:pt x="195" y="61"/>
                  <a:pt x="196" y="61"/>
                  <a:pt x="196" y="61"/>
                </a:cubicBezTo>
                <a:cubicBezTo>
                  <a:pt x="196" y="60"/>
                  <a:pt x="198" y="61"/>
                  <a:pt x="198" y="61"/>
                </a:cubicBezTo>
                <a:cubicBezTo>
                  <a:pt x="198" y="61"/>
                  <a:pt x="198" y="61"/>
                  <a:pt x="199" y="61"/>
                </a:cubicBezTo>
                <a:cubicBezTo>
                  <a:pt x="199" y="62"/>
                  <a:pt x="199" y="62"/>
                  <a:pt x="200" y="62"/>
                </a:cubicBezTo>
                <a:cubicBezTo>
                  <a:pt x="200" y="62"/>
                  <a:pt x="200" y="62"/>
                  <a:pt x="200" y="62"/>
                </a:cubicBezTo>
                <a:cubicBezTo>
                  <a:pt x="200" y="63"/>
                  <a:pt x="201" y="63"/>
                  <a:pt x="201" y="63"/>
                </a:cubicBezTo>
                <a:cubicBezTo>
                  <a:pt x="201" y="63"/>
                  <a:pt x="202" y="64"/>
                  <a:pt x="202" y="64"/>
                </a:cubicBezTo>
                <a:cubicBezTo>
                  <a:pt x="202" y="65"/>
                  <a:pt x="203" y="65"/>
                  <a:pt x="203" y="66"/>
                </a:cubicBezTo>
                <a:cubicBezTo>
                  <a:pt x="203" y="66"/>
                  <a:pt x="204" y="67"/>
                  <a:pt x="204" y="67"/>
                </a:cubicBezTo>
                <a:cubicBezTo>
                  <a:pt x="204" y="68"/>
                  <a:pt x="205" y="69"/>
                  <a:pt x="205" y="69"/>
                </a:cubicBezTo>
                <a:cubicBezTo>
                  <a:pt x="205" y="70"/>
                  <a:pt x="205" y="70"/>
                  <a:pt x="205" y="70"/>
                </a:cubicBezTo>
                <a:cubicBezTo>
                  <a:pt x="205" y="71"/>
                  <a:pt x="205" y="71"/>
                  <a:pt x="206" y="72"/>
                </a:cubicBezTo>
                <a:cubicBezTo>
                  <a:pt x="206" y="72"/>
                  <a:pt x="206" y="73"/>
                  <a:pt x="205" y="74"/>
                </a:cubicBezTo>
                <a:cubicBezTo>
                  <a:pt x="206" y="75"/>
                  <a:pt x="204" y="79"/>
                  <a:pt x="203" y="79"/>
                </a:cubicBezTo>
                <a:close/>
                <a:moveTo>
                  <a:pt x="208" y="78"/>
                </a:moveTo>
                <a:cubicBezTo>
                  <a:pt x="208" y="79"/>
                  <a:pt x="208" y="79"/>
                  <a:pt x="208" y="79"/>
                </a:cubicBezTo>
                <a:cubicBezTo>
                  <a:pt x="208" y="79"/>
                  <a:pt x="208" y="80"/>
                  <a:pt x="208" y="80"/>
                </a:cubicBezTo>
                <a:cubicBezTo>
                  <a:pt x="207" y="81"/>
                  <a:pt x="208" y="82"/>
                  <a:pt x="207" y="83"/>
                </a:cubicBezTo>
                <a:cubicBezTo>
                  <a:pt x="207" y="83"/>
                  <a:pt x="207" y="83"/>
                  <a:pt x="206" y="83"/>
                </a:cubicBezTo>
                <a:cubicBezTo>
                  <a:pt x="206" y="84"/>
                  <a:pt x="205" y="84"/>
                  <a:pt x="205" y="85"/>
                </a:cubicBezTo>
                <a:cubicBezTo>
                  <a:pt x="204" y="85"/>
                  <a:pt x="204" y="84"/>
                  <a:pt x="203" y="84"/>
                </a:cubicBezTo>
                <a:cubicBezTo>
                  <a:pt x="203" y="84"/>
                  <a:pt x="203" y="84"/>
                  <a:pt x="203" y="84"/>
                </a:cubicBezTo>
                <a:cubicBezTo>
                  <a:pt x="204" y="83"/>
                  <a:pt x="206" y="81"/>
                  <a:pt x="206" y="81"/>
                </a:cubicBezTo>
                <a:cubicBezTo>
                  <a:pt x="207" y="80"/>
                  <a:pt x="207" y="79"/>
                  <a:pt x="208" y="79"/>
                </a:cubicBezTo>
                <a:cubicBezTo>
                  <a:pt x="208" y="78"/>
                  <a:pt x="208" y="78"/>
                  <a:pt x="208" y="77"/>
                </a:cubicBezTo>
                <a:cubicBezTo>
                  <a:pt x="209" y="77"/>
                  <a:pt x="209" y="78"/>
                  <a:pt x="209" y="78"/>
                </a:cubicBezTo>
                <a:cubicBezTo>
                  <a:pt x="209" y="78"/>
                  <a:pt x="208" y="78"/>
                  <a:pt x="208" y="78"/>
                </a:cubicBezTo>
                <a:close/>
                <a:moveTo>
                  <a:pt x="209" y="62"/>
                </a:moveTo>
                <a:cubicBezTo>
                  <a:pt x="208" y="62"/>
                  <a:pt x="208" y="61"/>
                  <a:pt x="207" y="61"/>
                </a:cubicBezTo>
                <a:cubicBezTo>
                  <a:pt x="206" y="60"/>
                  <a:pt x="205" y="58"/>
                  <a:pt x="203" y="57"/>
                </a:cubicBezTo>
                <a:cubicBezTo>
                  <a:pt x="203" y="55"/>
                  <a:pt x="203" y="53"/>
                  <a:pt x="203" y="52"/>
                </a:cubicBezTo>
                <a:cubicBezTo>
                  <a:pt x="204" y="51"/>
                  <a:pt x="203" y="50"/>
                  <a:pt x="203" y="49"/>
                </a:cubicBezTo>
                <a:cubicBezTo>
                  <a:pt x="204" y="49"/>
                  <a:pt x="205" y="51"/>
                  <a:pt x="205" y="52"/>
                </a:cubicBezTo>
                <a:cubicBezTo>
                  <a:pt x="205" y="53"/>
                  <a:pt x="206" y="53"/>
                  <a:pt x="206" y="54"/>
                </a:cubicBezTo>
                <a:cubicBezTo>
                  <a:pt x="206" y="54"/>
                  <a:pt x="207" y="55"/>
                  <a:pt x="207" y="56"/>
                </a:cubicBezTo>
                <a:cubicBezTo>
                  <a:pt x="208" y="56"/>
                  <a:pt x="208" y="57"/>
                  <a:pt x="208" y="58"/>
                </a:cubicBezTo>
                <a:cubicBezTo>
                  <a:pt x="208" y="59"/>
                  <a:pt x="209" y="60"/>
                  <a:pt x="209" y="62"/>
                </a:cubicBezTo>
                <a:close/>
                <a:moveTo>
                  <a:pt x="192" y="86"/>
                </a:moveTo>
                <a:cubicBezTo>
                  <a:pt x="189" y="84"/>
                  <a:pt x="185" y="82"/>
                  <a:pt x="182" y="81"/>
                </a:cubicBezTo>
                <a:cubicBezTo>
                  <a:pt x="181" y="80"/>
                  <a:pt x="180" y="80"/>
                  <a:pt x="179" y="80"/>
                </a:cubicBezTo>
                <a:cubicBezTo>
                  <a:pt x="179" y="80"/>
                  <a:pt x="178" y="80"/>
                  <a:pt x="178" y="79"/>
                </a:cubicBezTo>
                <a:cubicBezTo>
                  <a:pt x="178" y="79"/>
                  <a:pt x="178" y="78"/>
                  <a:pt x="178" y="78"/>
                </a:cubicBezTo>
                <a:cubicBezTo>
                  <a:pt x="178" y="77"/>
                  <a:pt x="178" y="76"/>
                  <a:pt x="178" y="76"/>
                </a:cubicBezTo>
                <a:cubicBezTo>
                  <a:pt x="179" y="75"/>
                  <a:pt x="178" y="74"/>
                  <a:pt x="178" y="73"/>
                </a:cubicBezTo>
                <a:cubicBezTo>
                  <a:pt x="177" y="72"/>
                  <a:pt x="177" y="70"/>
                  <a:pt x="176" y="69"/>
                </a:cubicBezTo>
                <a:cubicBezTo>
                  <a:pt x="176" y="68"/>
                  <a:pt x="175" y="67"/>
                  <a:pt x="174" y="67"/>
                </a:cubicBezTo>
                <a:cubicBezTo>
                  <a:pt x="174" y="67"/>
                  <a:pt x="174" y="66"/>
                  <a:pt x="174" y="67"/>
                </a:cubicBezTo>
                <a:cubicBezTo>
                  <a:pt x="173" y="67"/>
                  <a:pt x="173" y="68"/>
                  <a:pt x="172" y="68"/>
                </a:cubicBezTo>
                <a:cubicBezTo>
                  <a:pt x="172" y="70"/>
                  <a:pt x="173" y="71"/>
                  <a:pt x="173" y="72"/>
                </a:cubicBezTo>
                <a:cubicBezTo>
                  <a:pt x="174" y="73"/>
                  <a:pt x="175" y="75"/>
                  <a:pt x="175" y="76"/>
                </a:cubicBezTo>
                <a:cubicBezTo>
                  <a:pt x="175" y="77"/>
                  <a:pt x="175" y="77"/>
                  <a:pt x="174" y="77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4" y="80"/>
                  <a:pt x="172" y="80"/>
                  <a:pt x="171" y="81"/>
                </a:cubicBezTo>
                <a:cubicBezTo>
                  <a:pt x="171" y="81"/>
                  <a:pt x="170" y="82"/>
                  <a:pt x="170" y="82"/>
                </a:cubicBezTo>
                <a:cubicBezTo>
                  <a:pt x="170" y="82"/>
                  <a:pt x="170" y="82"/>
                  <a:pt x="169" y="83"/>
                </a:cubicBezTo>
                <a:cubicBezTo>
                  <a:pt x="169" y="84"/>
                  <a:pt x="170" y="85"/>
                  <a:pt x="170" y="86"/>
                </a:cubicBezTo>
                <a:cubicBezTo>
                  <a:pt x="170" y="86"/>
                  <a:pt x="171" y="86"/>
                  <a:pt x="171" y="86"/>
                </a:cubicBezTo>
                <a:cubicBezTo>
                  <a:pt x="172" y="86"/>
                  <a:pt x="172" y="85"/>
                  <a:pt x="172" y="85"/>
                </a:cubicBezTo>
                <a:cubicBezTo>
                  <a:pt x="173" y="85"/>
                  <a:pt x="176" y="83"/>
                  <a:pt x="178" y="84"/>
                </a:cubicBezTo>
                <a:cubicBezTo>
                  <a:pt x="179" y="84"/>
                  <a:pt x="180" y="85"/>
                  <a:pt x="181" y="85"/>
                </a:cubicBezTo>
                <a:cubicBezTo>
                  <a:pt x="183" y="86"/>
                  <a:pt x="185" y="87"/>
                  <a:pt x="187" y="88"/>
                </a:cubicBezTo>
                <a:cubicBezTo>
                  <a:pt x="188" y="89"/>
                  <a:pt x="189" y="90"/>
                  <a:pt x="190" y="90"/>
                </a:cubicBezTo>
                <a:cubicBezTo>
                  <a:pt x="190" y="91"/>
                  <a:pt x="191" y="91"/>
                  <a:pt x="192" y="91"/>
                </a:cubicBezTo>
                <a:cubicBezTo>
                  <a:pt x="193" y="91"/>
                  <a:pt x="194" y="90"/>
                  <a:pt x="195" y="89"/>
                </a:cubicBezTo>
                <a:cubicBezTo>
                  <a:pt x="195" y="87"/>
                  <a:pt x="192" y="87"/>
                  <a:pt x="192" y="86"/>
                </a:cubicBezTo>
                <a:close/>
                <a:moveTo>
                  <a:pt x="115" y="113"/>
                </a:moveTo>
                <a:cubicBezTo>
                  <a:pt x="115" y="112"/>
                  <a:pt x="115" y="112"/>
                  <a:pt x="114" y="112"/>
                </a:cubicBezTo>
                <a:cubicBezTo>
                  <a:pt x="113" y="112"/>
                  <a:pt x="113" y="112"/>
                  <a:pt x="111" y="111"/>
                </a:cubicBezTo>
                <a:cubicBezTo>
                  <a:pt x="110" y="111"/>
                  <a:pt x="108" y="111"/>
                  <a:pt x="107" y="110"/>
                </a:cubicBezTo>
                <a:cubicBezTo>
                  <a:pt x="107" y="110"/>
                  <a:pt x="107" y="109"/>
                  <a:pt x="106" y="109"/>
                </a:cubicBezTo>
                <a:cubicBezTo>
                  <a:pt x="106" y="109"/>
                  <a:pt x="106" y="108"/>
                  <a:pt x="105" y="108"/>
                </a:cubicBezTo>
                <a:cubicBezTo>
                  <a:pt x="105" y="108"/>
                  <a:pt x="103" y="107"/>
                  <a:pt x="102" y="107"/>
                </a:cubicBezTo>
                <a:cubicBezTo>
                  <a:pt x="101" y="107"/>
                  <a:pt x="101" y="108"/>
                  <a:pt x="100" y="108"/>
                </a:cubicBezTo>
                <a:cubicBezTo>
                  <a:pt x="99" y="108"/>
                  <a:pt x="99" y="108"/>
                  <a:pt x="99" y="108"/>
                </a:cubicBezTo>
                <a:cubicBezTo>
                  <a:pt x="97" y="108"/>
                  <a:pt x="95" y="108"/>
                  <a:pt x="94" y="108"/>
                </a:cubicBezTo>
                <a:cubicBezTo>
                  <a:pt x="93" y="108"/>
                  <a:pt x="93" y="108"/>
                  <a:pt x="93" y="108"/>
                </a:cubicBezTo>
                <a:cubicBezTo>
                  <a:pt x="92" y="109"/>
                  <a:pt x="90" y="108"/>
                  <a:pt x="90" y="108"/>
                </a:cubicBezTo>
                <a:cubicBezTo>
                  <a:pt x="89" y="108"/>
                  <a:pt x="88" y="107"/>
                  <a:pt x="87" y="106"/>
                </a:cubicBezTo>
                <a:cubicBezTo>
                  <a:pt x="86" y="106"/>
                  <a:pt x="85" y="106"/>
                  <a:pt x="85" y="106"/>
                </a:cubicBezTo>
                <a:cubicBezTo>
                  <a:pt x="84" y="105"/>
                  <a:pt x="83" y="105"/>
                  <a:pt x="82" y="104"/>
                </a:cubicBezTo>
                <a:cubicBezTo>
                  <a:pt x="81" y="104"/>
                  <a:pt x="80" y="104"/>
                  <a:pt x="79" y="105"/>
                </a:cubicBezTo>
                <a:cubicBezTo>
                  <a:pt x="79" y="105"/>
                  <a:pt x="78" y="105"/>
                  <a:pt x="78" y="105"/>
                </a:cubicBezTo>
                <a:cubicBezTo>
                  <a:pt x="77" y="105"/>
                  <a:pt x="76" y="106"/>
                  <a:pt x="75" y="106"/>
                </a:cubicBezTo>
                <a:cubicBezTo>
                  <a:pt x="74" y="105"/>
                  <a:pt x="73" y="105"/>
                  <a:pt x="71" y="105"/>
                </a:cubicBezTo>
                <a:cubicBezTo>
                  <a:pt x="71" y="105"/>
                  <a:pt x="71" y="105"/>
                  <a:pt x="70" y="105"/>
                </a:cubicBezTo>
                <a:cubicBezTo>
                  <a:pt x="69" y="105"/>
                  <a:pt x="69" y="104"/>
                  <a:pt x="68" y="104"/>
                </a:cubicBezTo>
                <a:cubicBezTo>
                  <a:pt x="67" y="104"/>
                  <a:pt x="67" y="104"/>
                  <a:pt x="67" y="104"/>
                </a:cubicBezTo>
                <a:cubicBezTo>
                  <a:pt x="65" y="103"/>
                  <a:pt x="62" y="104"/>
                  <a:pt x="60" y="104"/>
                </a:cubicBezTo>
                <a:cubicBezTo>
                  <a:pt x="59" y="104"/>
                  <a:pt x="58" y="104"/>
                  <a:pt x="57" y="104"/>
                </a:cubicBezTo>
                <a:cubicBezTo>
                  <a:pt x="56" y="103"/>
                  <a:pt x="56" y="104"/>
                  <a:pt x="55" y="104"/>
                </a:cubicBezTo>
                <a:cubicBezTo>
                  <a:pt x="54" y="104"/>
                  <a:pt x="54" y="104"/>
                  <a:pt x="53" y="104"/>
                </a:cubicBezTo>
                <a:cubicBezTo>
                  <a:pt x="52" y="104"/>
                  <a:pt x="52" y="104"/>
                  <a:pt x="51" y="105"/>
                </a:cubicBezTo>
                <a:cubicBezTo>
                  <a:pt x="50" y="105"/>
                  <a:pt x="50" y="105"/>
                  <a:pt x="49" y="106"/>
                </a:cubicBezTo>
                <a:cubicBezTo>
                  <a:pt x="48" y="106"/>
                  <a:pt x="47" y="106"/>
                  <a:pt x="47" y="106"/>
                </a:cubicBezTo>
                <a:cubicBezTo>
                  <a:pt x="46" y="107"/>
                  <a:pt x="44" y="107"/>
                  <a:pt x="43" y="106"/>
                </a:cubicBezTo>
                <a:cubicBezTo>
                  <a:pt x="43" y="106"/>
                  <a:pt x="42" y="106"/>
                  <a:pt x="41" y="106"/>
                </a:cubicBezTo>
                <a:cubicBezTo>
                  <a:pt x="41" y="106"/>
                  <a:pt x="40" y="106"/>
                  <a:pt x="40" y="106"/>
                </a:cubicBezTo>
                <a:cubicBezTo>
                  <a:pt x="39" y="106"/>
                  <a:pt x="39" y="106"/>
                  <a:pt x="38" y="106"/>
                </a:cubicBezTo>
                <a:cubicBezTo>
                  <a:pt x="37" y="106"/>
                  <a:pt x="37" y="106"/>
                  <a:pt x="36" y="106"/>
                </a:cubicBezTo>
                <a:cubicBezTo>
                  <a:pt x="36" y="106"/>
                  <a:pt x="35" y="106"/>
                  <a:pt x="35" y="106"/>
                </a:cubicBezTo>
                <a:cubicBezTo>
                  <a:pt x="34" y="106"/>
                  <a:pt x="33" y="106"/>
                  <a:pt x="33" y="106"/>
                </a:cubicBezTo>
                <a:cubicBezTo>
                  <a:pt x="31" y="105"/>
                  <a:pt x="29" y="105"/>
                  <a:pt x="27" y="105"/>
                </a:cubicBezTo>
                <a:cubicBezTo>
                  <a:pt x="25" y="105"/>
                  <a:pt x="24" y="105"/>
                  <a:pt x="23" y="105"/>
                </a:cubicBezTo>
                <a:cubicBezTo>
                  <a:pt x="23" y="106"/>
                  <a:pt x="23" y="106"/>
                  <a:pt x="23" y="106"/>
                </a:cubicBezTo>
                <a:cubicBezTo>
                  <a:pt x="24" y="107"/>
                  <a:pt x="24" y="108"/>
                  <a:pt x="25" y="108"/>
                </a:cubicBezTo>
                <a:cubicBezTo>
                  <a:pt x="25" y="108"/>
                  <a:pt x="26" y="108"/>
                  <a:pt x="27" y="109"/>
                </a:cubicBezTo>
                <a:cubicBezTo>
                  <a:pt x="27" y="109"/>
                  <a:pt x="27" y="110"/>
                  <a:pt x="28" y="110"/>
                </a:cubicBezTo>
                <a:cubicBezTo>
                  <a:pt x="28" y="110"/>
                  <a:pt x="29" y="110"/>
                  <a:pt x="29" y="110"/>
                </a:cubicBezTo>
                <a:cubicBezTo>
                  <a:pt x="30" y="110"/>
                  <a:pt x="30" y="111"/>
                  <a:pt x="31" y="111"/>
                </a:cubicBezTo>
                <a:cubicBezTo>
                  <a:pt x="31" y="112"/>
                  <a:pt x="29" y="113"/>
                  <a:pt x="29" y="114"/>
                </a:cubicBezTo>
                <a:cubicBezTo>
                  <a:pt x="28" y="115"/>
                  <a:pt x="27" y="116"/>
                  <a:pt x="27" y="117"/>
                </a:cubicBezTo>
                <a:cubicBezTo>
                  <a:pt x="26" y="118"/>
                  <a:pt x="26" y="118"/>
                  <a:pt x="25" y="119"/>
                </a:cubicBezTo>
                <a:cubicBezTo>
                  <a:pt x="25" y="119"/>
                  <a:pt x="25" y="119"/>
                  <a:pt x="24" y="120"/>
                </a:cubicBezTo>
                <a:cubicBezTo>
                  <a:pt x="24" y="120"/>
                  <a:pt x="24" y="120"/>
                  <a:pt x="23" y="120"/>
                </a:cubicBezTo>
                <a:cubicBezTo>
                  <a:pt x="23" y="121"/>
                  <a:pt x="23" y="121"/>
                  <a:pt x="23" y="122"/>
                </a:cubicBezTo>
                <a:cubicBezTo>
                  <a:pt x="23" y="123"/>
                  <a:pt x="24" y="124"/>
                  <a:pt x="26" y="123"/>
                </a:cubicBezTo>
                <a:cubicBezTo>
                  <a:pt x="26" y="123"/>
                  <a:pt x="26" y="123"/>
                  <a:pt x="27" y="122"/>
                </a:cubicBezTo>
                <a:cubicBezTo>
                  <a:pt x="28" y="121"/>
                  <a:pt x="30" y="121"/>
                  <a:pt x="30" y="119"/>
                </a:cubicBezTo>
                <a:cubicBezTo>
                  <a:pt x="31" y="119"/>
                  <a:pt x="31" y="119"/>
                  <a:pt x="32" y="119"/>
                </a:cubicBezTo>
                <a:cubicBezTo>
                  <a:pt x="32" y="118"/>
                  <a:pt x="33" y="118"/>
                  <a:pt x="33" y="117"/>
                </a:cubicBezTo>
                <a:cubicBezTo>
                  <a:pt x="33" y="117"/>
                  <a:pt x="34" y="117"/>
                  <a:pt x="34" y="117"/>
                </a:cubicBezTo>
                <a:cubicBezTo>
                  <a:pt x="35" y="117"/>
                  <a:pt x="35" y="116"/>
                  <a:pt x="36" y="116"/>
                </a:cubicBezTo>
                <a:cubicBezTo>
                  <a:pt x="36" y="116"/>
                  <a:pt x="37" y="116"/>
                  <a:pt x="38" y="116"/>
                </a:cubicBezTo>
                <a:cubicBezTo>
                  <a:pt x="39" y="115"/>
                  <a:pt x="41" y="116"/>
                  <a:pt x="42" y="115"/>
                </a:cubicBezTo>
                <a:cubicBezTo>
                  <a:pt x="43" y="115"/>
                  <a:pt x="44" y="115"/>
                  <a:pt x="45" y="115"/>
                </a:cubicBezTo>
                <a:cubicBezTo>
                  <a:pt x="46" y="115"/>
                  <a:pt x="48" y="115"/>
                  <a:pt x="50" y="114"/>
                </a:cubicBezTo>
                <a:cubicBezTo>
                  <a:pt x="51" y="114"/>
                  <a:pt x="51" y="114"/>
                  <a:pt x="52" y="114"/>
                </a:cubicBezTo>
                <a:cubicBezTo>
                  <a:pt x="53" y="114"/>
                  <a:pt x="53" y="113"/>
                  <a:pt x="54" y="112"/>
                </a:cubicBezTo>
                <a:cubicBezTo>
                  <a:pt x="54" y="112"/>
                  <a:pt x="54" y="111"/>
                  <a:pt x="54" y="111"/>
                </a:cubicBezTo>
                <a:cubicBezTo>
                  <a:pt x="55" y="111"/>
                  <a:pt x="57" y="110"/>
                  <a:pt x="57" y="110"/>
                </a:cubicBezTo>
                <a:cubicBezTo>
                  <a:pt x="58" y="110"/>
                  <a:pt x="58" y="109"/>
                  <a:pt x="59" y="109"/>
                </a:cubicBezTo>
                <a:cubicBezTo>
                  <a:pt x="59" y="109"/>
                  <a:pt x="59" y="109"/>
                  <a:pt x="60" y="109"/>
                </a:cubicBezTo>
                <a:cubicBezTo>
                  <a:pt x="60" y="109"/>
                  <a:pt x="61" y="109"/>
                  <a:pt x="62" y="108"/>
                </a:cubicBezTo>
                <a:cubicBezTo>
                  <a:pt x="62" y="108"/>
                  <a:pt x="64" y="109"/>
                  <a:pt x="64" y="109"/>
                </a:cubicBezTo>
                <a:cubicBezTo>
                  <a:pt x="65" y="109"/>
                  <a:pt x="66" y="108"/>
                  <a:pt x="67" y="109"/>
                </a:cubicBezTo>
                <a:cubicBezTo>
                  <a:pt x="67" y="109"/>
                  <a:pt x="67" y="109"/>
                  <a:pt x="67" y="109"/>
                </a:cubicBezTo>
                <a:cubicBezTo>
                  <a:pt x="68" y="109"/>
                  <a:pt x="68" y="109"/>
                  <a:pt x="69" y="109"/>
                </a:cubicBezTo>
                <a:cubicBezTo>
                  <a:pt x="69" y="109"/>
                  <a:pt x="69" y="109"/>
                  <a:pt x="69" y="109"/>
                </a:cubicBezTo>
                <a:cubicBezTo>
                  <a:pt x="70" y="109"/>
                  <a:pt x="70" y="109"/>
                  <a:pt x="71" y="109"/>
                </a:cubicBezTo>
                <a:cubicBezTo>
                  <a:pt x="71" y="109"/>
                  <a:pt x="72" y="110"/>
                  <a:pt x="72" y="110"/>
                </a:cubicBezTo>
                <a:cubicBezTo>
                  <a:pt x="73" y="110"/>
                  <a:pt x="73" y="110"/>
                  <a:pt x="74" y="110"/>
                </a:cubicBezTo>
                <a:cubicBezTo>
                  <a:pt x="74" y="110"/>
                  <a:pt x="75" y="111"/>
                  <a:pt x="75" y="111"/>
                </a:cubicBezTo>
                <a:cubicBezTo>
                  <a:pt x="76" y="111"/>
                  <a:pt x="76" y="111"/>
                  <a:pt x="77" y="111"/>
                </a:cubicBezTo>
                <a:cubicBezTo>
                  <a:pt x="77" y="111"/>
                  <a:pt x="78" y="111"/>
                  <a:pt x="78" y="111"/>
                </a:cubicBezTo>
                <a:cubicBezTo>
                  <a:pt x="79" y="111"/>
                  <a:pt x="82" y="109"/>
                  <a:pt x="83" y="110"/>
                </a:cubicBezTo>
                <a:cubicBezTo>
                  <a:pt x="84" y="110"/>
                  <a:pt x="84" y="110"/>
                  <a:pt x="85" y="110"/>
                </a:cubicBezTo>
                <a:cubicBezTo>
                  <a:pt x="85" y="110"/>
                  <a:pt x="85" y="110"/>
                  <a:pt x="86" y="111"/>
                </a:cubicBezTo>
                <a:cubicBezTo>
                  <a:pt x="86" y="111"/>
                  <a:pt x="86" y="111"/>
                  <a:pt x="86" y="111"/>
                </a:cubicBezTo>
                <a:cubicBezTo>
                  <a:pt x="87" y="112"/>
                  <a:pt x="88" y="112"/>
                  <a:pt x="88" y="112"/>
                </a:cubicBezTo>
                <a:cubicBezTo>
                  <a:pt x="88" y="113"/>
                  <a:pt x="89" y="113"/>
                  <a:pt x="89" y="113"/>
                </a:cubicBezTo>
                <a:cubicBezTo>
                  <a:pt x="90" y="114"/>
                  <a:pt x="90" y="113"/>
                  <a:pt x="91" y="113"/>
                </a:cubicBezTo>
                <a:cubicBezTo>
                  <a:pt x="91" y="114"/>
                  <a:pt x="92" y="114"/>
                  <a:pt x="92" y="114"/>
                </a:cubicBezTo>
                <a:cubicBezTo>
                  <a:pt x="93" y="114"/>
                  <a:pt x="93" y="114"/>
                  <a:pt x="93" y="114"/>
                </a:cubicBezTo>
                <a:cubicBezTo>
                  <a:pt x="95" y="114"/>
                  <a:pt x="97" y="114"/>
                  <a:pt x="99" y="113"/>
                </a:cubicBezTo>
                <a:cubicBezTo>
                  <a:pt x="99" y="113"/>
                  <a:pt x="100" y="113"/>
                  <a:pt x="100" y="113"/>
                </a:cubicBezTo>
                <a:cubicBezTo>
                  <a:pt x="101" y="113"/>
                  <a:pt x="101" y="113"/>
                  <a:pt x="102" y="113"/>
                </a:cubicBezTo>
                <a:cubicBezTo>
                  <a:pt x="102" y="113"/>
                  <a:pt x="103" y="113"/>
                  <a:pt x="103" y="113"/>
                </a:cubicBezTo>
                <a:cubicBezTo>
                  <a:pt x="104" y="113"/>
                  <a:pt x="104" y="114"/>
                  <a:pt x="105" y="114"/>
                </a:cubicBezTo>
                <a:cubicBezTo>
                  <a:pt x="107" y="115"/>
                  <a:pt x="108" y="115"/>
                  <a:pt x="110" y="115"/>
                </a:cubicBezTo>
                <a:cubicBezTo>
                  <a:pt x="111" y="115"/>
                  <a:pt x="111" y="115"/>
                  <a:pt x="111" y="115"/>
                </a:cubicBezTo>
                <a:cubicBezTo>
                  <a:pt x="111" y="116"/>
                  <a:pt x="112" y="116"/>
                  <a:pt x="112" y="116"/>
                </a:cubicBezTo>
                <a:cubicBezTo>
                  <a:pt x="113" y="116"/>
                  <a:pt x="113" y="116"/>
                  <a:pt x="113" y="115"/>
                </a:cubicBezTo>
                <a:cubicBezTo>
                  <a:pt x="114" y="115"/>
                  <a:pt x="115" y="116"/>
                  <a:pt x="115" y="116"/>
                </a:cubicBezTo>
                <a:cubicBezTo>
                  <a:pt x="116" y="116"/>
                  <a:pt x="117" y="115"/>
                  <a:pt x="117" y="115"/>
                </a:cubicBezTo>
                <a:cubicBezTo>
                  <a:pt x="118" y="113"/>
                  <a:pt x="116" y="113"/>
                  <a:pt x="115" y="113"/>
                </a:cubicBezTo>
                <a:close/>
                <a:moveTo>
                  <a:pt x="96" y="148"/>
                </a:moveTo>
                <a:cubicBezTo>
                  <a:pt x="96" y="148"/>
                  <a:pt x="96" y="148"/>
                  <a:pt x="96" y="148"/>
                </a:cubicBezTo>
                <a:cubicBezTo>
                  <a:pt x="96" y="148"/>
                  <a:pt x="96" y="148"/>
                  <a:pt x="95" y="148"/>
                </a:cubicBezTo>
                <a:cubicBezTo>
                  <a:pt x="94" y="149"/>
                  <a:pt x="93" y="151"/>
                  <a:pt x="92" y="153"/>
                </a:cubicBezTo>
                <a:cubicBezTo>
                  <a:pt x="91" y="154"/>
                  <a:pt x="91" y="155"/>
                  <a:pt x="90" y="156"/>
                </a:cubicBezTo>
                <a:cubicBezTo>
                  <a:pt x="90" y="157"/>
                  <a:pt x="90" y="160"/>
                  <a:pt x="91" y="160"/>
                </a:cubicBezTo>
                <a:cubicBezTo>
                  <a:pt x="92" y="161"/>
                  <a:pt x="93" y="159"/>
                  <a:pt x="93" y="158"/>
                </a:cubicBezTo>
                <a:cubicBezTo>
                  <a:pt x="94" y="157"/>
                  <a:pt x="95" y="155"/>
                  <a:pt x="96" y="154"/>
                </a:cubicBezTo>
                <a:cubicBezTo>
                  <a:pt x="96" y="153"/>
                  <a:pt x="96" y="153"/>
                  <a:pt x="96" y="152"/>
                </a:cubicBezTo>
                <a:cubicBezTo>
                  <a:pt x="97" y="152"/>
                  <a:pt x="97" y="151"/>
                  <a:pt x="97" y="151"/>
                </a:cubicBezTo>
                <a:cubicBezTo>
                  <a:pt x="98" y="150"/>
                  <a:pt x="97" y="148"/>
                  <a:pt x="96" y="148"/>
                </a:cubicBezTo>
                <a:close/>
              </a:path>
            </a:pathLst>
          </a:custGeom>
          <a:solidFill>
            <a:srgbClr val="F40009"/>
          </a:solidFill>
          <a:ln>
            <a:noFill/>
          </a:ln>
        </p:spPr>
        <p:txBody>
          <a:bodyPr/>
          <a:lstStyle/>
          <a:p>
            <a:pPr defTabSz="54864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1440" kern="0" dirty="0">
              <a:solidFill>
                <a:srgbClr val="002776"/>
              </a:solidFill>
              <a:latin typeface="Arial"/>
              <a:cs typeface="Arial" panose="020B0604020202020204" pitchFamily="34" charset="0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F04CAA66-F441-42FF-8CF9-F7C5C03037EF}"/>
              </a:ext>
            </a:extLst>
          </p:cNvPr>
          <p:cNvGrpSpPr/>
          <p:nvPr/>
        </p:nvGrpSpPr>
        <p:grpSpPr>
          <a:xfrm>
            <a:off x="10339708" y="1688190"/>
            <a:ext cx="412686" cy="468344"/>
            <a:chOff x="7307263" y="3181217"/>
            <a:chExt cx="550863" cy="579437"/>
          </a:xfrm>
          <a:solidFill>
            <a:srgbClr val="F40009"/>
          </a:solidFill>
        </p:grpSpPr>
        <p:sp>
          <p:nvSpPr>
            <p:cNvPr id="38" name="Freeform 616">
              <a:extLst>
                <a:ext uri="{FF2B5EF4-FFF2-40B4-BE49-F238E27FC236}">
                  <a16:creationId xmlns:a16="http://schemas.microsoft.com/office/drawing/2014/main" id="{886CE2A7-70BE-42CD-ACF6-AFC44AE46E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7263" y="3181217"/>
              <a:ext cx="550863" cy="579437"/>
            </a:xfrm>
            <a:custGeom>
              <a:avLst/>
              <a:gdLst>
                <a:gd name="T0" fmla="*/ 120 w 140"/>
                <a:gd name="T1" fmla="*/ 42 h 147"/>
                <a:gd name="T2" fmla="*/ 119 w 140"/>
                <a:gd name="T3" fmla="*/ 51 h 147"/>
                <a:gd name="T4" fmla="*/ 112 w 140"/>
                <a:gd name="T5" fmla="*/ 53 h 147"/>
                <a:gd name="T6" fmla="*/ 107 w 140"/>
                <a:gd name="T7" fmla="*/ 52 h 147"/>
                <a:gd name="T8" fmla="*/ 82 w 140"/>
                <a:gd name="T9" fmla="*/ 51 h 147"/>
                <a:gd name="T10" fmla="*/ 69 w 140"/>
                <a:gd name="T11" fmla="*/ 51 h 147"/>
                <a:gd name="T12" fmla="*/ 46 w 140"/>
                <a:gd name="T13" fmla="*/ 51 h 147"/>
                <a:gd name="T14" fmla="*/ 22 w 140"/>
                <a:gd name="T15" fmla="*/ 49 h 147"/>
                <a:gd name="T16" fmla="*/ 15 w 140"/>
                <a:gd name="T17" fmla="*/ 44 h 147"/>
                <a:gd name="T18" fmla="*/ 15 w 140"/>
                <a:gd name="T19" fmla="*/ 37 h 147"/>
                <a:gd name="T20" fmla="*/ 6 w 140"/>
                <a:gd name="T21" fmla="*/ 40 h 147"/>
                <a:gd name="T22" fmla="*/ 7 w 140"/>
                <a:gd name="T23" fmla="*/ 67 h 147"/>
                <a:gd name="T24" fmla="*/ 7 w 140"/>
                <a:gd name="T25" fmla="*/ 83 h 147"/>
                <a:gd name="T26" fmla="*/ 9 w 140"/>
                <a:gd name="T27" fmla="*/ 108 h 147"/>
                <a:gd name="T28" fmla="*/ 11 w 140"/>
                <a:gd name="T29" fmla="*/ 131 h 147"/>
                <a:gd name="T30" fmla="*/ 12 w 140"/>
                <a:gd name="T31" fmla="*/ 141 h 147"/>
                <a:gd name="T32" fmla="*/ 10 w 140"/>
                <a:gd name="T33" fmla="*/ 147 h 147"/>
                <a:gd name="T34" fmla="*/ 7 w 140"/>
                <a:gd name="T35" fmla="*/ 140 h 147"/>
                <a:gd name="T36" fmla="*/ 5 w 140"/>
                <a:gd name="T37" fmla="*/ 115 h 147"/>
                <a:gd name="T38" fmla="*/ 2 w 140"/>
                <a:gd name="T39" fmla="*/ 61 h 147"/>
                <a:gd name="T40" fmla="*/ 0 w 140"/>
                <a:gd name="T41" fmla="*/ 39 h 147"/>
                <a:gd name="T42" fmla="*/ 9 w 140"/>
                <a:gd name="T43" fmla="*/ 33 h 147"/>
                <a:gd name="T44" fmla="*/ 15 w 140"/>
                <a:gd name="T45" fmla="*/ 32 h 147"/>
                <a:gd name="T46" fmla="*/ 27 w 140"/>
                <a:gd name="T47" fmla="*/ 22 h 147"/>
                <a:gd name="T48" fmla="*/ 38 w 140"/>
                <a:gd name="T49" fmla="*/ 18 h 147"/>
                <a:gd name="T50" fmla="*/ 48 w 140"/>
                <a:gd name="T51" fmla="*/ 15 h 147"/>
                <a:gd name="T52" fmla="*/ 56 w 140"/>
                <a:gd name="T53" fmla="*/ 3 h 147"/>
                <a:gd name="T54" fmla="*/ 71 w 140"/>
                <a:gd name="T55" fmla="*/ 1 h 147"/>
                <a:gd name="T56" fmla="*/ 83 w 140"/>
                <a:gd name="T57" fmla="*/ 9 h 147"/>
                <a:gd name="T58" fmla="*/ 90 w 140"/>
                <a:gd name="T59" fmla="*/ 19 h 147"/>
                <a:gd name="T60" fmla="*/ 104 w 140"/>
                <a:gd name="T61" fmla="*/ 21 h 147"/>
                <a:gd name="T62" fmla="*/ 116 w 140"/>
                <a:gd name="T63" fmla="*/ 30 h 147"/>
                <a:gd name="T64" fmla="*/ 133 w 140"/>
                <a:gd name="T65" fmla="*/ 30 h 147"/>
                <a:gd name="T66" fmla="*/ 140 w 140"/>
                <a:gd name="T67" fmla="*/ 34 h 147"/>
                <a:gd name="T68" fmla="*/ 137 w 140"/>
                <a:gd name="T69" fmla="*/ 36 h 147"/>
                <a:gd name="T70" fmla="*/ 118 w 140"/>
                <a:gd name="T71" fmla="*/ 35 h 147"/>
                <a:gd name="T72" fmla="*/ 115 w 140"/>
                <a:gd name="T73" fmla="*/ 41 h 147"/>
                <a:gd name="T74" fmla="*/ 109 w 140"/>
                <a:gd name="T75" fmla="*/ 30 h 147"/>
                <a:gd name="T76" fmla="*/ 92 w 140"/>
                <a:gd name="T77" fmla="*/ 24 h 147"/>
                <a:gd name="T78" fmla="*/ 86 w 140"/>
                <a:gd name="T79" fmla="*/ 25 h 147"/>
                <a:gd name="T80" fmla="*/ 79 w 140"/>
                <a:gd name="T81" fmla="*/ 14 h 147"/>
                <a:gd name="T82" fmla="*/ 74 w 140"/>
                <a:gd name="T83" fmla="*/ 9 h 147"/>
                <a:gd name="T84" fmla="*/ 55 w 140"/>
                <a:gd name="T85" fmla="*/ 14 h 147"/>
                <a:gd name="T86" fmla="*/ 45 w 140"/>
                <a:gd name="T87" fmla="*/ 24 h 147"/>
                <a:gd name="T88" fmla="*/ 37 w 140"/>
                <a:gd name="T89" fmla="*/ 24 h 147"/>
                <a:gd name="T90" fmla="*/ 28 w 140"/>
                <a:gd name="T91" fmla="*/ 29 h 147"/>
                <a:gd name="T92" fmla="*/ 18 w 140"/>
                <a:gd name="T93" fmla="*/ 44 h 147"/>
                <a:gd name="T94" fmla="*/ 23 w 140"/>
                <a:gd name="T95" fmla="*/ 43 h 147"/>
                <a:gd name="T96" fmla="*/ 52 w 140"/>
                <a:gd name="T97" fmla="*/ 47 h 147"/>
                <a:gd name="T98" fmla="*/ 84 w 140"/>
                <a:gd name="T99" fmla="*/ 46 h 147"/>
                <a:gd name="T100" fmla="*/ 95 w 140"/>
                <a:gd name="T101" fmla="*/ 46 h 147"/>
                <a:gd name="T102" fmla="*/ 113 w 140"/>
                <a:gd name="T103" fmla="*/ 4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0" h="147">
                  <a:moveTo>
                    <a:pt x="118" y="35"/>
                  </a:moveTo>
                  <a:cubicBezTo>
                    <a:pt x="119" y="38"/>
                    <a:pt x="119" y="40"/>
                    <a:pt x="120" y="42"/>
                  </a:cubicBezTo>
                  <a:cubicBezTo>
                    <a:pt x="121" y="44"/>
                    <a:pt x="121" y="46"/>
                    <a:pt x="121" y="48"/>
                  </a:cubicBezTo>
                  <a:cubicBezTo>
                    <a:pt x="121" y="49"/>
                    <a:pt x="120" y="50"/>
                    <a:pt x="119" y="51"/>
                  </a:cubicBezTo>
                  <a:cubicBezTo>
                    <a:pt x="118" y="50"/>
                    <a:pt x="117" y="51"/>
                    <a:pt x="116" y="52"/>
                  </a:cubicBezTo>
                  <a:cubicBezTo>
                    <a:pt x="115" y="53"/>
                    <a:pt x="114" y="54"/>
                    <a:pt x="112" y="53"/>
                  </a:cubicBezTo>
                  <a:cubicBezTo>
                    <a:pt x="111" y="52"/>
                    <a:pt x="110" y="52"/>
                    <a:pt x="109" y="52"/>
                  </a:cubicBezTo>
                  <a:cubicBezTo>
                    <a:pt x="109" y="52"/>
                    <a:pt x="108" y="52"/>
                    <a:pt x="107" y="52"/>
                  </a:cubicBezTo>
                  <a:cubicBezTo>
                    <a:pt x="105" y="51"/>
                    <a:pt x="102" y="51"/>
                    <a:pt x="99" y="51"/>
                  </a:cubicBezTo>
                  <a:cubicBezTo>
                    <a:pt x="94" y="52"/>
                    <a:pt x="88" y="52"/>
                    <a:pt x="82" y="51"/>
                  </a:cubicBezTo>
                  <a:cubicBezTo>
                    <a:pt x="80" y="51"/>
                    <a:pt x="78" y="51"/>
                    <a:pt x="76" y="51"/>
                  </a:cubicBezTo>
                  <a:cubicBezTo>
                    <a:pt x="74" y="51"/>
                    <a:pt x="71" y="51"/>
                    <a:pt x="69" y="51"/>
                  </a:cubicBezTo>
                  <a:cubicBezTo>
                    <a:pt x="66" y="52"/>
                    <a:pt x="63" y="52"/>
                    <a:pt x="60" y="52"/>
                  </a:cubicBezTo>
                  <a:cubicBezTo>
                    <a:pt x="55" y="51"/>
                    <a:pt x="51" y="51"/>
                    <a:pt x="46" y="51"/>
                  </a:cubicBezTo>
                  <a:cubicBezTo>
                    <a:pt x="41" y="51"/>
                    <a:pt x="37" y="50"/>
                    <a:pt x="32" y="50"/>
                  </a:cubicBezTo>
                  <a:cubicBezTo>
                    <a:pt x="29" y="50"/>
                    <a:pt x="26" y="49"/>
                    <a:pt x="22" y="49"/>
                  </a:cubicBezTo>
                  <a:cubicBezTo>
                    <a:pt x="21" y="49"/>
                    <a:pt x="20" y="49"/>
                    <a:pt x="19" y="49"/>
                  </a:cubicBezTo>
                  <a:cubicBezTo>
                    <a:pt x="16" y="49"/>
                    <a:pt x="15" y="47"/>
                    <a:pt x="15" y="44"/>
                  </a:cubicBezTo>
                  <a:cubicBezTo>
                    <a:pt x="15" y="43"/>
                    <a:pt x="15" y="41"/>
                    <a:pt x="15" y="39"/>
                  </a:cubicBezTo>
                  <a:cubicBezTo>
                    <a:pt x="15" y="39"/>
                    <a:pt x="15" y="38"/>
                    <a:pt x="15" y="37"/>
                  </a:cubicBezTo>
                  <a:cubicBezTo>
                    <a:pt x="12" y="38"/>
                    <a:pt x="9" y="39"/>
                    <a:pt x="7" y="39"/>
                  </a:cubicBezTo>
                  <a:cubicBezTo>
                    <a:pt x="6" y="39"/>
                    <a:pt x="6" y="40"/>
                    <a:pt x="6" y="40"/>
                  </a:cubicBezTo>
                  <a:cubicBezTo>
                    <a:pt x="6" y="43"/>
                    <a:pt x="5" y="46"/>
                    <a:pt x="6" y="49"/>
                  </a:cubicBezTo>
                  <a:cubicBezTo>
                    <a:pt x="6" y="55"/>
                    <a:pt x="6" y="61"/>
                    <a:pt x="7" y="67"/>
                  </a:cubicBezTo>
                  <a:cubicBezTo>
                    <a:pt x="7" y="70"/>
                    <a:pt x="7" y="73"/>
                    <a:pt x="7" y="77"/>
                  </a:cubicBezTo>
                  <a:cubicBezTo>
                    <a:pt x="7" y="79"/>
                    <a:pt x="7" y="81"/>
                    <a:pt x="7" y="83"/>
                  </a:cubicBezTo>
                  <a:cubicBezTo>
                    <a:pt x="7" y="88"/>
                    <a:pt x="8" y="93"/>
                    <a:pt x="8" y="98"/>
                  </a:cubicBezTo>
                  <a:cubicBezTo>
                    <a:pt x="8" y="101"/>
                    <a:pt x="9" y="105"/>
                    <a:pt x="9" y="108"/>
                  </a:cubicBezTo>
                  <a:cubicBezTo>
                    <a:pt x="9" y="111"/>
                    <a:pt x="9" y="115"/>
                    <a:pt x="10" y="118"/>
                  </a:cubicBezTo>
                  <a:cubicBezTo>
                    <a:pt x="10" y="122"/>
                    <a:pt x="10" y="127"/>
                    <a:pt x="11" y="131"/>
                  </a:cubicBezTo>
                  <a:cubicBezTo>
                    <a:pt x="11" y="133"/>
                    <a:pt x="11" y="135"/>
                    <a:pt x="11" y="137"/>
                  </a:cubicBezTo>
                  <a:cubicBezTo>
                    <a:pt x="11" y="138"/>
                    <a:pt x="12" y="139"/>
                    <a:pt x="12" y="141"/>
                  </a:cubicBezTo>
                  <a:cubicBezTo>
                    <a:pt x="12" y="142"/>
                    <a:pt x="12" y="144"/>
                    <a:pt x="12" y="145"/>
                  </a:cubicBezTo>
                  <a:cubicBezTo>
                    <a:pt x="12" y="146"/>
                    <a:pt x="11" y="147"/>
                    <a:pt x="10" y="147"/>
                  </a:cubicBezTo>
                  <a:cubicBezTo>
                    <a:pt x="9" y="147"/>
                    <a:pt x="8" y="146"/>
                    <a:pt x="7" y="145"/>
                  </a:cubicBezTo>
                  <a:cubicBezTo>
                    <a:pt x="7" y="144"/>
                    <a:pt x="7" y="142"/>
                    <a:pt x="7" y="140"/>
                  </a:cubicBezTo>
                  <a:cubicBezTo>
                    <a:pt x="7" y="136"/>
                    <a:pt x="6" y="131"/>
                    <a:pt x="6" y="127"/>
                  </a:cubicBezTo>
                  <a:cubicBezTo>
                    <a:pt x="6" y="123"/>
                    <a:pt x="6" y="119"/>
                    <a:pt x="5" y="115"/>
                  </a:cubicBezTo>
                  <a:cubicBezTo>
                    <a:pt x="5" y="103"/>
                    <a:pt x="4" y="91"/>
                    <a:pt x="3" y="79"/>
                  </a:cubicBezTo>
                  <a:cubicBezTo>
                    <a:pt x="3" y="73"/>
                    <a:pt x="2" y="67"/>
                    <a:pt x="2" y="61"/>
                  </a:cubicBezTo>
                  <a:cubicBezTo>
                    <a:pt x="2" y="55"/>
                    <a:pt x="1" y="49"/>
                    <a:pt x="1" y="42"/>
                  </a:cubicBezTo>
                  <a:cubicBezTo>
                    <a:pt x="1" y="41"/>
                    <a:pt x="1" y="40"/>
                    <a:pt x="0" y="39"/>
                  </a:cubicBezTo>
                  <a:cubicBezTo>
                    <a:pt x="0" y="36"/>
                    <a:pt x="0" y="36"/>
                    <a:pt x="3" y="35"/>
                  </a:cubicBezTo>
                  <a:cubicBezTo>
                    <a:pt x="5" y="34"/>
                    <a:pt x="7" y="34"/>
                    <a:pt x="9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4" y="33"/>
                    <a:pt x="15" y="32"/>
                  </a:cubicBezTo>
                  <a:cubicBezTo>
                    <a:pt x="18" y="32"/>
                    <a:pt x="19" y="30"/>
                    <a:pt x="21" y="28"/>
                  </a:cubicBezTo>
                  <a:cubicBezTo>
                    <a:pt x="22" y="26"/>
                    <a:pt x="25" y="24"/>
                    <a:pt x="27" y="22"/>
                  </a:cubicBezTo>
                  <a:cubicBezTo>
                    <a:pt x="28" y="21"/>
                    <a:pt x="30" y="20"/>
                    <a:pt x="32" y="20"/>
                  </a:cubicBezTo>
                  <a:cubicBezTo>
                    <a:pt x="34" y="19"/>
                    <a:pt x="36" y="18"/>
                    <a:pt x="38" y="18"/>
                  </a:cubicBezTo>
                  <a:cubicBezTo>
                    <a:pt x="39" y="18"/>
                    <a:pt x="40" y="18"/>
                    <a:pt x="41" y="18"/>
                  </a:cubicBezTo>
                  <a:cubicBezTo>
                    <a:pt x="43" y="17"/>
                    <a:pt x="46" y="16"/>
                    <a:pt x="48" y="15"/>
                  </a:cubicBezTo>
                  <a:cubicBezTo>
                    <a:pt x="50" y="13"/>
                    <a:pt x="51" y="11"/>
                    <a:pt x="52" y="9"/>
                  </a:cubicBezTo>
                  <a:cubicBezTo>
                    <a:pt x="54" y="7"/>
                    <a:pt x="55" y="5"/>
                    <a:pt x="56" y="3"/>
                  </a:cubicBezTo>
                  <a:cubicBezTo>
                    <a:pt x="57" y="3"/>
                    <a:pt x="58" y="3"/>
                    <a:pt x="59" y="3"/>
                  </a:cubicBezTo>
                  <a:cubicBezTo>
                    <a:pt x="63" y="1"/>
                    <a:pt x="66" y="0"/>
                    <a:pt x="71" y="1"/>
                  </a:cubicBezTo>
                  <a:cubicBezTo>
                    <a:pt x="73" y="1"/>
                    <a:pt x="75" y="1"/>
                    <a:pt x="77" y="3"/>
                  </a:cubicBezTo>
                  <a:cubicBezTo>
                    <a:pt x="80" y="5"/>
                    <a:pt x="81" y="7"/>
                    <a:pt x="83" y="9"/>
                  </a:cubicBezTo>
                  <a:cubicBezTo>
                    <a:pt x="84" y="12"/>
                    <a:pt x="85" y="15"/>
                    <a:pt x="87" y="17"/>
                  </a:cubicBezTo>
                  <a:cubicBezTo>
                    <a:pt x="88" y="18"/>
                    <a:pt x="89" y="18"/>
                    <a:pt x="90" y="19"/>
                  </a:cubicBezTo>
                  <a:cubicBezTo>
                    <a:pt x="91" y="19"/>
                    <a:pt x="93" y="19"/>
                    <a:pt x="95" y="19"/>
                  </a:cubicBezTo>
                  <a:cubicBezTo>
                    <a:pt x="98" y="20"/>
                    <a:pt x="101" y="20"/>
                    <a:pt x="104" y="21"/>
                  </a:cubicBezTo>
                  <a:cubicBezTo>
                    <a:pt x="108" y="23"/>
                    <a:pt x="112" y="25"/>
                    <a:pt x="115" y="29"/>
                  </a:cubicBezTo>
                  <a:cubicBezTo>
                    <a:pt x="115" y="29"/>
                    <a:pt x="115" y="30"/>
                    <a:pt x="116" y="30"/>
                  </a:cubicBezTo>
                  <a:cubicBezTo>
                    <a:pt x="118" y="30"/>
                    <a:pt x="121" y="30"/>
                    <a:pt x="123" y="30"/>
                  </a:cubicBezTo>
                  <a:cubicBezTo>
                    <a:pt x="126" y="30"/>
                    <a:pt x="130" y="31"/>
                    <a:pt x="133" y="30"/>
                  </a:cubicBezTo>
                  <a:cubicBezTo>
                    <a:pt x="135" y="30"/>
                    <a:pt x="137" y="31"/>
                    <a:pt x="138" y="32"/>
                  </a:cubicBezTo>
                  <a:cubicBezTo>
                    <a:pt x="139" y="32"/>
                    <a:pt x="140" y="33"/>
                    <a:pt x="140" y="34"/>
                  </a:cubicBezTo>
                  <a:cubicBezTo>
                    <a:pt x="140" y="35"/>
                    <a:pt x="140" y="36"/>
                    <a:pt x="139" y="36"/>
                  </a:cubicBezTo>
                  <a:cubicBezTo>
                    <a:pt x="139" y="37"/>
                    <a:pt x="138" y="36"/>
                    <a:pt x="137" y="36"/>
                  </a:cubicBezTo>
                  <a:cubicBezTo>
                    <a:pt x="134" y="36"/>
                    <a:pt x="131" y="35"/>
                    <a:pt x="127" y="35"/>
                  </a:cubicBezTo>
                  <a:cubicBezTo>
                    <a:pt x="124" y="35"/>
                    <a:pt x="121" y="35"/>
                    <a:pt x="118" y="35"/>
                  </a:cubicBezTo>
                  <a:close/>
                  <a:moveTo>
                    <a:pt x="116" y="45"/>
                  </a:moveTo>
                  <a:cubicBezTo>
                    <a:pt x="116" y="44"/>
                    <a:pt x="115" y="43"/>
                    <a:pt x="115" y="41"/>
                  </a:cubicBezTo>
                  <a:cubicBezTo>
                    <a:pt x="115" y="41"/>
                    <a:pt x="114" y="40"/>
                    <a:pt x="114" y="39"/>
                  </a:cubicBezTo>
                  <a:cubicBezTo>
                    <a:pt x="113" y="36"/>
                    <a:pt x="112" y="33"/>
                    <a:pt x="109" y="30"/>
                  </a:cubicBezTo>
                  <a:cubicBezTo>
                    <a:pt x="108" y="29"/>
                    <a:pt x="106" y="29"/>
                    <a:pt x="104" y="28"/>
                  </a:cubicBezTo>
                  <a:cubicBezTo>
                    <a:pt x="100" y="25"/>
                    <a:pt x="96" y="25"/>
                    <a:pt x="92" y="24"/>
                  </a:cubicBezTo>
                  <a:cubicBezTo>
                    <a:pt x="91" y="24"/>
                    <a:pt x="90" y="25"/>
                    <a:pt x="90" y="25"/>
                  </a:cubicBezTo>
                  <a:cubicBezTo>
                    <a:pt x="88" y="25"/>
                    <a:pt x="87" y="25"/>
                    <a:pt x="86" y="25"/>
                  </a:cubicBezTo>
                  <a:cubicBezTo>
                    <a:pt x="83" y="25"/>
                    <a:pt x="81" y="24"/>
                    <a:pt x="81" y="21"/>
                  </a:cubicBezTo>
                  <a:cubicBezTo>
                    <a:pt x="80" y="18"/>
                    <a:pt x="80" y="16"/>
                    <a:pt x="79" y="14"/>
                  </a:cubicBezTo>
                  <a:cubicBezTo>
                    <a:pt x="79" y="12"/>
                    <a:pt x="77" y="10"/>
                    <a:pt x="76" y="10"/>
                  </a:cubicBezTo>
                  <a:cubicBezTo>
                    <a:pt x="75" y="9"/>
                    <a:pt x="75" y="9"/>
                    <a:pt x="74" y="9"/>
                  </a:cubicBezTo>
                  <a:cubicBezTo>
                    <a:pt x="70" y="6"/>
                    <a:pt x="65" y="5"/>
                    <a:pt x="60" y="8"/>
                  </a:cubicBezTo>
                  <a:cubicBezTo>
                    <a:pt x="58" y="9"/>
                    <a:pt x="56" y="11"/>
                    <a:pt x="55" y="14"/>
                  </a:cubicBezTo>
                  <a:cubicBezTo>
                    <a:pt x="54" y="17"/>
                    <a:pt x="52" y="20"/>
                    <a:pt x="49" y="23"/>
                  </a:cubicBezTo>
                  <a:cubicBezTo>
                    <a:pt x="48" y="25"/>
                    <a:pt x="47" y="25"/>
                    <a:pt x="45" y="24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1" y="23"/>
                    <a:pt x="39" y="23"/>
                    <a:pt x="37" y="24"/>
                  </a:cubicBezTo>
                  <a:cubicBezTo>
                    <a:pt x="35" y="24"/>
                    <a:pt x="33" y="24"/>
                    <a:pt x="31" y="26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4" y="31"/>
                    <a:pt x="21" y="35"/>
                    <a:pt x="20" y="39"/>
                  </a:cubicBezTo>
                  <a:cubicBezTo>
                    <a:pt x="19" y="41"/>
                    <a:pt x="19" y="43"/>
                    <a:pt x="18" y="44"/>
                  </a:cubicBezTo>
                  <a:cubicBezTo>
                    <a:pt x="18" y="44"/>
                    <a:pt x="19" y="44"/>
                    <a:pt x="19" y="45"/>
                  </a:cubicBezTo>
                  <a:cubicBezTo>
                    <a:pt x="20" y="43"/>
                    <a:pt x="21" y="43"/>
                    <a:pt x="23" y="43"/>
                  </a:cubicBezTo>
                  <a:cubicBezTo>
                    <a:pt x="27" y="44"/>
                    <a:pt x="32" y="45"/>
                    <a:pt x="37" y="45"/>
                  </a:cubicBezTo>
                  <a:cubicBezTo>
                    <a:pt x="42" y="46"/>
                    <a:pt x="47" y="46"/>
                    <a:pt x="52" y="47"/>
                  </a:cubicBezTo>
                  <a:cubicBezTo>
                    <a:pt x="56" y="47"/>
                    <a:pt x="60" y="47"/>
                    <a:pt x="64" y="47"/>
                  </a:cubicBezTo>
                  <a:cubicBezTo>
                    <a:pt x="71" y="46"/>
                    <a:pt x="78" y="46"/>
                    <a:pt x="84" y="46"/>
                  </a:cubicBezTo>
                  <a:cubicBezTo>
                    <a:pt x="85" y="46"/>
                    <a:pt x="86" y="46"/>
                    <a:pt x="87" y="46"/>
                  </a:cubicBezTo>
                  <a:cubicBezTo>
                    <a:pt x="90" y="46"/>
                    <a:pt x="92" y="47"/>
                    <a:pt x="95" y="46"/>
                  </a:cubicBezTo>
                  <a:cubicBezTo>
                    <a:pt x="98" y="46"/>
                    <a:pt x="100" y="46"/>
                    <a:pt x="103" y="46"/>
                  </a:cubicBezTo>
                  <a:cubicBezTo>
                    <a:pt x="107" y="46"/>
                    <a:pt x="110" y="46"/>
                    <a:pt x="113" y="45"/>
                  </a:cubicBezTo>
                  <a:cubicBezTo>
                    <a:pt x="114" y="45"/>
                    <a:pt x="115" y="45"/>
                    <a:pt x="116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39" name="Freeform 617">
              <a:extLst>
                <a:ext uri="{FF2B5EF4-FFF2-40B4-BE49-F238E27FC236}">
                  <a16:creationId xmlns:a16="http://schemas.microsoft.com/office/drawing/2014/main" id="{D892BB34-FD6B-4676-8A94-D5E00B7819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4250" y="3314701"/>
              <a:ext cx="511175" cy="439738"/>
            </a:xfrm>
            <a:custGeom>
              <a:avLst/>
              <a:gdLst>
                <a:gd name="T0" fmla="*/ 3 w 130"/>
                <a:gd name="T1" fmla="*/ 111 h 112"/>
                <a:gd name="T2" fmla="*/ 3 w 130"/>
                <a:gd name="T3" fmla="*/ 111 h 112"/>
                <a:gd name="T4" fmla="*/ 2 w 130"/>
                <a:gd name="T5" fmla="*/ 106 h 112"/>
                <a:gd name="T6" fmla="*/ 4 w 130"/>
                <a:gd name="T7" fmla="*/ 106 h 112"/>
                <a:gd name="T8" fmla="*/ 15 w 130"/>
                <a:gd name="T9" fmla="*/ 107 h 112"/>
                <a:gd name="T10" fmla="*/ 25 w 130"/>
                <a:gd name="T11" fmla="*/ 107 h 112"/>
                <a:gd name="T12" fmla="*/ 34 w 130"/>
                <a:gd name="T13" fmla="*/ 107 h 112"/>
                <a:gd name="T14" fmla="*/ 45 w 130"/>
                <a:gd name="T15" fmla="*/ 108 h 112"/>
                <a:gd name="T16" fmla="*/ 54 w 130"/>
                <a:gd name="T17" fmla="*/ 108 h 112"/>
                <a:gd name="T18" fmla="*/ 59 w 130"/>
                <a:gd name="T19" fmla="*/ 107 h 112"/>
                <a:gd name="T20" fmla="*/ 75 w 130"/>
                <a:gd name="T21" fmla="*/ 106 h 112"/>
                <a:gd name="T22" fmla="*/ 83 w 130"/>
                <a:gd name="T23" fmla="*/ 105 h 112"/>
                <a:gd name="T24" fmla="*/ 94 w 130"/>
                <a:gd name="T25" fmla="*/ 104 h 112"/>
                <a:gd name="T26" fmla="*/ 110 w 130"/>
                <a:gd name="T27" fmla="*/ 104 h 112"/>
                <a:gd name="T28" fmla="*/ 118 w 130"/>
                <a:gd name="T29" fmla="*/ 104 h 112"/>
                <a:gd name="T30" fmla="*/ 121 w 130"/>
                <a:gd name="T31" fmla="*/ 102 h 112"/>
                <a:gd name="T32" fmla="*/ 123 w 130"/>
                <a:gd name="T33" fmla="*/ 87 h 112"/>
                <a:gd name="T34" fmla="*/ 124 w 130"/>
                <a:gd name="T35" fmla="*/ 81 h 112"/>
                <a:gd name="T36" fmla="*/ 125 w 130"/>
                <a:gd name="T37" fmla="*/ 68 h 112"/>
                <a:gd name="T38" fmla="*/ 126 w 130"/>
                <a:gd name="T39" fmla="*/ 55 h 112"/>
                <a:gd name="T40" fmla="*/ 126 w 130"/>
                <a:gd name="T41" fmla="*/ 37 h 112"/>
                <a:gd name="T42" fmla="*/ 126 w 130"/>
                <a:gd name="T43" fmla="*/ 27 h 112"/>
                <a:gd name="T44" fmla="*/ 126 w 130"/>
                <a:gd name="T45" fmla="*/ 16 h 112"/>
                <a:gd name="T46" fmla="*/ 127 w 130"/>
                <a:gd name="T47" fmla="*/ 1 h 112"/>
                <a:gd name="T48" fmla="*/ 128 w 130"/>
                <a:gd name="T49" fmla="*/ 0 h 112"/>
                <a:gd name="T50" fmla="*/ 129 w 130"/>
                <a:gd name="T51" fmla="*/ 1 h 112"/>
                <a:gd name="T52" fmla="*/ 130 w 130"/>
                <a:gd name="T53" fmla="*/ 3 h 112"/>
                <a:gd name="T54" fmla="*/ 130 w 130"/>
                <a:gd name="T55" fmla="*/ 12 h 112"/>
                <a:gd name="T56" fmla="*/ 130 w 130"/>
                <a:gd name="T57" fmla="*/ 23 h 112"/>
                <a:gd name="T58" fmla="*/ 130 w 130"/>
                <a:gd name="T59" fmla="*/ 34 h 112"/>
                <a:gd name="T60" fmla="*/ 130 w 130"/>
                <a:gd name="T61" fmla="*/ 46 h 112"/>
                <a:gd name="T62" fmla="*/ 129 w 130"/>
                <a:gd name="T63" fmla="*/ 63 h 112"/>
                <a:gd name="T64" fmla="*/ 127 w 130"/>
                <a:gd name="T65" fmla="*/ 82 h 112"/>
                <a:gd name="T66" fmla="*/ 127 w 130"/>
                <a:gd name="T67" fmla="*/ 92 h 112"/>
                <a:gd name="T68" fmla="*/ 127 w 130"/>
                <a:gd name="T69" fmla="*/ 96 h 112"/>
                <a:gd name="T70" fmla="*/ 127 w 130"/>
                <a:gd name="T71" fmla="*/ 102 h 112"/>
                <a:gd name="T72" fmla="*/ 125 w 130"/>
                <a:gd name="T73" fmla="*/ 108 h 112"/>
                <a:gd name="T74" fmla="*/ 123 w 130"/>
                <a:gd name="T75" fmla="*/ 110 h 112"/>
                <a:gd name="T76" fmla="*/ 112 w 130"/>
                <a:gd name="T77" fmla="*/ 108 h 112"/>
                <a:gd name="T78" fmla="*/ 100 w 130"/>
                <a:gd name="T79" fmla="*/ 108 h 112"/>
                <a:gd name="T80" fmla="*/ 85 w 130"/>
                <a:gd name="T81" fmla="*/ 109 h 112"/>
                <a:gd name="T82" fmla="*/ 76 w 130"/>
                <a:gd name="T83" fmla="*/ 109 h 112"/>
                <a:gd name="T84" fmla="*/ 58 w 130"/>
                <a:gd name="T85" fmla="*/ 111 h 112"/>
                <a:gd name="T86" fmla="*/ 38 w 130"/>
                <a:gd name="T87" fmla="*/ 111 h 112"/>
                <a:gd name="T88" fmla="*/ 28 w 130"/>
                <a:gd name="T89" fmla="*/ 112 h 112"/>
                <a:gd name="T90" fmla="*/ 17 w 130"/>
                <a:gd name="T91" fmla="*/ 111 h 112"/>
                <a:gd name="T92" fmla="*/ 8 w 130"/>
                <a:gd name="T93" fmla="*/ 112 h 112"/>
                <a:gd name="T94" fmla="*/ 6 w 130"/>
                <a:gd name="T95" fmla="*/ 112 h 112"/>
                <a:gd name="T96" fmla="*/ 3 w 130"/>
                <a:gd name="T97" fmla="*/ 1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12">
                  <a:moveTo>
                    <a:pt x="3" y="111"/>
                  </a:moveTo>
                  <a:cubicBezTo>
                    <a:pt x="3" y="111"/>
                    <a:pt x="3" y="111"/>
                    <a:pt x="3" y="111"/>
                  </a:cubicBezTo>
                  <a:cubicBezTo>
                    <a:pt x="1" y="109"/>
                    <a:pt x="0" y="108"/>
                    <a:pt x="2" y="106"/>
                  </a:cubicBezTo>
                  <a:cubicBezTo>
                    <a:pt x="2" y="106"/>
                    <a:pt x="3" y="106"/>
                    <a:pt x="4" y="106"/>
                  </a:cubicBezTo>
                  <a:cubicBezTo>
                    <a:pt x="8" y="106"/>
                    <a:pt x="11" y="107"/>
                    <a:pt x="15" y="107"/>
                  </a:cubicBezTo>
                  <a:cubicBezTo>
                    <a:pt x="18" y="107"/>
                    <a:pt x="22" y="107"/>
                    <a:pt x="25" y="107"/>
                  </a:cubicBezTo>
                  <a:cubicBezTo>
                    <a:pt x="28" y="107"/>
                    <a:pt x="31" y="107"/>
                    <a:pt x="34" y="107"/>
                  </a:cubicBezTo>
                  <a:cubicBezTo>
                    <a:pt x="38" y="107"/>
                    <a:pt x="41" y="108"/>
                    <a:pt x="45" y="108"/>
                  </a:cubicBezTo>
                  <a:cubicBezTo>
                    <a:pt x="48" y="108"/>
                    <a:pt x="51" y="108"/>
                    <a:pt x="54" y="108"/>
                  </a:cubicBezTo>
                  <a:cubicBezTo>
                    <a:pt x="56" y="108"/>
                    <a:pt x="57" y="108"/>
                    <a:pt x="59" y="107"/>
                  </a:cubicBezTo>
                  <a:cubicBezTo>
                    <a:pt x="64" y="107"/>
                    <a:pt x="70" y="106"/>
                    <a:pt x="75" y="106"/>
                  </a:cubicBezTo>
                  <a:cubicBezTo>
                    <a:pt x="77" y="105"/>
                    <a:pt x="80" y="105"/>
                    <a:pt x="83" y="105"/>
                  </a:cubicBezTo>
                  <a:cubicBezTo>
                    <a:pt x="86" y="105"/>
                    <a:pt x="90" y="105"/>
                    <a:pt x="94" y="104"/>
                  </a:cubicBezTo>
                  <a:cubicBezTo>
                    <a:pt x="99" y="104"/>
                    <a:pt x="105" y="104"/>
                    <a:pt x="110" y="104"/>
                  </a:cubicBezTo>
                  <a:cubicBezTo>
                    <a:pt x="113" y="104"/>
                    <a:pt x="116" y="105"/>
                    <a:pt x="118" y="104"/>
                  </a:cubicBezTo>
                  <a:cubicBezTo>
                    <a:pt x="120" y="104"/>
                    <a:pt x="121" y="104"/>
                    <a:pt x="121" y="102"/>
                  </a:cubicBezTo>
                  <a:cubicBezTo>
                    <a:pt x="122" y="97"/>
                    <a:pt x="123" y="92"/>
                    <a:pt x="123" y="87"/>
                  </a:cubicBezTo>
                  <a:cubicBezTo>
                    <a:pt x="124" y="85"/>
                    <a:pt x="124" y="83"/>
                    <a:pt x="124" y="81"/>
                  </a:cubicBezTo>
                  <a:cubicBezTo>
                    <a:pt x="124" y="77"/>
                    <a:pt x="125" y="72"/>
                    <a:pt x="125" y="68"/>
                  </a:cubicBezTo>
                  <a:cubicBezTo>
                    <a:pt x="126" y="64"/>
                    <a:pt x="126" y="59"/>
                    <a:pt x="126" y="55"/>
                  </a:cubicBezTo>
                  <a:cubicBezTo>
                    <a:pt x="126" y="49"/>
                    <a:pt x="126" y="43"/>
                    <a:pt x="126" y="37"/>
                  </a:cubicBezTo>
                  <a:cubicBezTo>
                    <a:pt x="126" y="34"/>
                    <a:pt x="126" y="30"/>
                    <a:pt x="126" y="27"/>
                  </a:cubicBezTo>
                  <a:cubicBezTo>
                    <a:pt x="126" y="23"/>
                    <a:pt x="126" y="19"/>
                    <a:pt x="126" y="16"/>
                  </a:cubicBezTo>
                  <a:cubicBezTo>
                    <a:pt x="126" y="11"/>
                    <a:pt x="125" y="6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8" y="0"/>
                    <a:pt x="129" y="0"/>
                    <a:pt x="129" y="1"/>
                  </a:cubicBezTo>
                  <a:cubicBezTo>
                    <a:pt x="130" y="1"/>
                    <a:pt x="130" y="2"/>
                    <a:pt x="130" y="3"/>
                  </a:cubicBezTo>
                  <a:cubicBezTo>
                    <a:pt x="130" y="6"/>
                    <a:pt x="130" y="9"/>
                    <a:pt x="130" y="12"/>
                  </a:cubicBezTo>
                  <a:cubicBezTo>
                    <a:pt x="130" y="16"/>
                    <a:pt x="130" y="20"/>
                    <a:pt x="130" y="23"/>
                  </a:cubicBezTo>
                  <a:cubicBezTo>
                    <a:pt x="130" y="27"/>
                    <a:pt x="130" y="30"/>
                    <a:pt x="130" y="34"/>
                  </a:cubicBezTo>
                  <a:cubicBezTo>
                    <a:pt x="130" y="38"/>
                    <a:pt x="129" y="42"/>
                    <a:pt x="130" y="46"/>
                  </a:cubicBezTo>
                  <a:cubicBezTo>
                    <a:pt x="130" y="52"/>
                    <a:pt x="129" y="57"/>
                    <a:pt x="129" y="63"/>
                  </a:cubicBezTo>
                  <a:cubicBezTo>
                    <a:pt x="129" y="69"/>
                    <a:pt x="128" y="76"/>
                    <a:pt x="127" y="82"/>
                  </a:cubicBezTo>
                  <a:cubicBezTo>
                    <a:pt x="127" y="85"/>
                    <a:pt x="127" y="88"/>
                    <a:pt x="127" y="92"/>
                  </a:cubicBezTo>
                  <a:cubicBezTo>
                    <a:pt x="127" y="93"/>
                    <a:pt x="127" y="94"/>
                    <a:pt x="127" y="96"/>
                  </a:cubicBezTo>
                  <a:cubicBezTo>
                    <a:pt x="126" y="98"/>
                    <a:pt x="126" y="100"/>
                    <a:pt x="127" y="102"/>
                  </a:cubicBezTo>
                  <a:cubicBezTo>
                    <a:pt x="128" y="104"/>
                    <a:pt x="127" y="107"/>
                    <a:pt x="125" y="108"/>
                  </a:cubicBezTo>
                  <a:cubicBezTo>
                    <a:pt x="125" y="109"/>
                    <a:pt x="124" y="109"/>
                    <a:pt x="123" y="110"/>
                  </a:cubicBezTo>
                  <a:cubicBezTo>
                    <a:pt x="120" y="109"/>
                    <a:pt x="116" y="108"/>
                    <a:pt x="112" y="108"/>
                  </a:cubicBezTo>
                  <a:cubicBezTo>
                    <a:pt x="108" y="108"/>
                    <a:pt x="104" y="107"/>
                    <a:pt x="100" y="108"/>
                  </a:cubicBezTo>
                  <a:cubicBezTo>
                    <a:pt x="95" y="108"/>
                    <a:pt x="90" y="108"/>
                    <a:pt x="85" y="109"/>
                  </a:cubicBezTo>
                  <a:cubicBezTo>
                    <a:pt x="82" y="109"/>
                    <a:pt x="79" y="109"/>
                    <a:pt x="76" y="109"/>
                  </a:cubicBezTo>
                  <a:cubicBezTo>
                    <a:pt x="70" y="110"/>
                    <a:pt x="64" y="110"/>
                    <a:pt x="58" y="111"/>
                  </a:cubicBezTo>
                  <a:cubicBezTo>
                    <a:pt x="52" y="111"/>
                    <a:pt x="45" y="112"/>
                    <a:pt x="38" y="111"/>
                  </a:cubicBezTo>
                  <a:cubicBezTo>
                    <a:pt x="35" y="111"/>
                    <a:pt x="31" y="112"/>
                    <a:pt x="28" y="112"/>
                  </a:cubicBezTo>
                  <a:cubicBezTo>
                    <a:pt x="24" y="112"/>
                    <a:pt x="20" y="111"/>
                    <a:pt x="17" y="111"/>
                  </a:cubicBezTo>
                  <a:cubicBezTo>
                    <a:pt x="14" y="111"/>
                    <a:pt x="11" y="112"/>
                    <a:pt x="8" y="112"/>
                  </a:cubicBezTo>
                  <a:cubicBezTo>
                    <a:pt x="7" y="112"/>
                    <a:pt x="6" y="112"/>
                    <a:pt x="6" y="112"/>
                  </a:cubicBezTo>
                  <a:cubicBezTo>
                    <a:pt x="5" y="111"/>
                    <a:pt x="4" y="111"/>
                    <a:pt x="3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40" name="Freeform 618">
              <a:extLst>
                <a:ext uri="{FF2B5EF4-FFF2-40B4-BE49-F238E27FC236}">
                  <a16:creationId xmlns:a16="http://schemas.microsoft.com/office/drawing/2014/main" id="{1DA3592A-8F83-4423-BD94-9936401F14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1875" y="3376613"/>
              <a:ext cx="169863" cy="130175"/>
            </a:xfrm>
            <a:custGeom>
              <a:avLst/>
              <a:gdLst>
                <a:gd name="T0" fmla="*/ 3 w 43"/>
                <a:gd name="T1" fmla="*/ 12 h 33"/>
                <a:gd name="T2" fmla="*/ 7 w 43"/>
                <a:gd name="T3" fmla="*/ 26 h 33"/>
                <a:gd name="T4" fmla="*/ 6 w 43"/>
                <a:gd name="T5" fmla="*/ 28 h 33"/>
                <a:gd name="T6" fmla="*/ 2 w 43"/>
                <a:gd name="T7" fmla="*/ 23 h 33"/>
                <a:gd name="T8" fmla="*/ 0 w 43"/>
                <a:gd name="T9" fmla="*/ 16 h 33"/>
                <a:gd name="T10" fmla="*/ 1 w 43"/>
                <a:gd name="T11" fmla="*/ 8 h 33"/>
                <a:gd name="T12" fmla="*/ 4 w 43"/>
                <a:gd name="T13" fmla="*/ 7 h 33"/>
                <a:gd name="T14" fmla="*/ 10 w 43"/>
                <a:gd name="T15" fmla="*/ 7 h 33"/>
                <a:gd name="T16" fmla="*/ 18 w 43"/>
                <a:gd name="T17" fmla="*/ 5 h 33"/>
                <a:gd name="T18" fmla="*/ 25 w 43"/>
                <a:gd name="T19" fmla="*/ 4 h 33"/>
                <a:gd name="T20" fmla="*/ 27 w 43"/>
                <a:gd name="T21" fmla="*/ 7 h 33"/>
                <a:gd name="T22" fmla="*/ 28 w 43"/>
                <a:gd name="T23" fmla="*/ 7 h 33"/>
                <a:gd name="T24" fmla="*/ 33 w 43"/>
                <a:gd name="T25" fmla="*/ 2 h 33"/>
                <a:gd name="T26" fmla="*/ 37 w 43"/>
                <a:gd name="T27" fmla="*/ 0 h 33"/>
                <a:gd name="T28" fmla="*/ 40 w 43"/>
                <a:gd name="T29" fmla="*/ 0 h 33"/>
                <a:gd name="T30" fmla="*/ 43 w 43"/>
                <a:gd name="T31" fmla="*/ 3 h 33"/>
                <a:gd name="T32" fmla="*/ 41 w 43"/>
                <a:gd name="T33" fmla="*/ 5 h 33"/>
                <a:gd name="T34" fmla="*/ 39 w 43"/>
                <a:gd name="T35" fmla="*/ 6 h 33"/>
                <a:gd name="T36" fmla="*/ 35 w 43"/>
                <a:gd name="T37" fmla="*/ 9 h 33"/>
                <a:gd name="T38" fmla="*/ 28 w 43"/>
                <a:gd name="T39" fmla="*/ 14 h 33"/>
                <a:gd name="T40" fmla="*/ 28 w 43"/>
                <a:gd name="T41" fmla="*/ 15 h 33"/>
                <a:gd name="T42" fmla="*/ 30 w 43"/>
                <a:gd name="T43" fmla="*/ 27 h 33"/>
                <a:gd name="T44" fmla="*/ 27 w 43"/>
                <a:gd name="T45" fmla="*/ 33 h 33"/>
                <a:gd name="T46" fmla="*/ 23 w 43"/>
                <a:gd name="T47" fmla="*/ 32 h 33"/>
                <a:gd name="T48" fmla="*/ 16 w 43"/>
                <a:gd name="T49" fmla="*/ 31 h 33"/>
                <a:gd name="T50" fmla="*/ 16 w 43"/>
                <a:gd name="T51" fmla="*/ 31 h 33"/>
                <a:gd name="T52" fmla="*/ 10 w 43"/>
                <a:gd name="T53" fmla="*/ 32 h 33"/>
                <a:gd name="T54" fmla="*/ 8 w 43"/>
                <a:gd name="T55" fmla="*/ 31 h 33"/>
                <a:gd name="T56" fmla="*/ 7 w 43"/>
                <a:gd name="T57" fmla="*/ 27 h 33"/>
                <a:gd name="T58" fmla="*/ 10 w 43"/>
                <a:gd name="T59" fmla="*/ 25 h 33"/>
                <a:gd name="T60" fmla="*/ 12 w 43"/>
                <a:gd name="T61" fmla="*/ 25 h 33"/>
                <a:gd name="T62" fmla="*/ 11 w 43"/>
                <a:gd name="T63" fmla="*/ 21 h 33"/>
                <a:gd name="T64" fmla="*/ 9 w 43"/>
                <a:gd name="T65" fmla="*/ 17 h 33"/>
                <a:gd name="T66" fmla="*/ 10 w 43"/>
                <a:gd name="T67" fmla="*/ 14 h 33"/>
                <a:gd name="T68" fmla="*/ 14 w 43"/>
                <a:gd name="T69" fmla="*/ 14 h 33"/>
                <a:gd name="T70" fmla="*/ 16 w 43"/>
                <a:gd name="T71" fmla="*/ 16 h 33"/>
                <a:gd name="T72" fmla="*/ 20 w 43"/>
                <a:gd name="T73" fmla="*/ 13 h 33"/>
                <a:gd name="T74" fmla="*/ 22 w 43"/>
                <a:gd name="T75" fmla="*/ 12 h 33"/>
                <a:gd name="T76" fmla="*/ 23 w 43"/>
                <a:gd name="T77" fmla="*/ 11 h 33"/>
                <a:gd name="T78" fmla="*/ 21 w 43"/>
                <a:gd name="T79" fmla="*/ 10 h 33"/>
                <a:gd name="T80" fmla="*/ 11 w 43"/>
                <a:gd name="T81" fmla="*/ 12 h 33"/>
                <a:gd name="T82" fmla="*/ 3 w 43"/>
                <a:gd name="T83" fmla="*/ 12 h 33"/>
                <a:gd name="T84" fmla="*/ 25 w 43"/>
                <a:gd name="T85" fmla="*/ 27 h 33"/>
                <a:gd name="T86" fmla="*/ 24 w 43"/>
                <a:gd name="T87" fmla="*/ 18 h 33"/>
                <a:gd name="T88" fmla="*/ 17 w 43"/>
                <a:gd name="T89" fmla="*/ 25 h 33"/>
                <a:gd name="T90" fmla="*/ 17 w 43"/>
                <a:gd name="T91" fmla="*/ 25 h 33"/>
                <a:gd name="T92" fmla="*/ 20 w 43"/>
                <a:gd name="T93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3" h="33">
                  <a:moveTo>
                    <a:pt x="3" y="12"/>
                  </a:moveTo>
                  <a:cubicBezTo>
                    <a:pt x="5" y="17"/>
                    <a:pt x="6" y="21"/>
                    <a:pt x="7" y="26"/>
                  </a:cubicBezTo>
                  <a:cubicBezTo>
                    <a:pt x="7" y="26"/>
                    <a:pt x="6" y="27"/>
                    <a:pt x="6" y="28"/>
                  </a:cubicBezTo>
                  <a:cubicBezTo>
                    <a:pt x="3" y="27"/>
                    <a:pt x="2" y="27"/>
                    <a:pt x="2" y="23"/>
                  </a:cubicBezTo>
                  <a:cubicBezTo>
                    <a:pt x="2" y="21"/>
                    <a:pt x="0" y="18"/>
                    <a:pt x="0" y="16"/>
                  </a:cubicBezTo>
                  <a:cubicBezTo>
                    <a:pt x="0" y="13"/>
                    <a:pt x="0" y="10"/>
                    <a:pt x="1" y="8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6" y="6"/>
                    <a:pt x="8" y="7"/>
                    <a:pt x="10" y="7"/>
                  </a:cubicBezTo>
                  <a:cubicBezTo>
                    <a:pt x="12" y="6"/>
                    <a:pt x="15" y="5"/>
                    <a:pt x="18" y="5"/>
                  </a:cubicBezTo>
                  <a:cubicBezTo>
                    <a:pt x="20" y="5"/>
                    <a:pt x="22" y="5"/>
                    <a:pt x="25" y="4"/>
                  </a:cubicBezTo>
                  <a:cubicBezTo>
                    <a:pt x="26" y="4"/>
                    <a:pt x="28" y="4"/>
                    <a:pt x="27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30" y="5"/>
                    <a:pt x="31" y="4"/>
                    <a:pt x="33" y="2"/>
                  </a:cubicBezTo>
                  <a:cubicBezTo>
                    <a:pt x="34" y="1"/>
                    <a:pt x="35" y="1"/>
                    <a:pt x="37" y="0"/>
                  </a:cubicBezTo>
                  <a:cubicBezTo>
                    <a:pt x="38" y="0"/>
                    <a:pt x="39" y="0"/>
                    <a:pt x="40" y="0"/>
                  </a:cubicBezTo>
                  <a:cubicBezTo>
                    <a:pt x="41" y="0"/>
                    <a:pt x="42" y="1"/>
                    <a:pt x="43" y="3"/>
                  </a:cubicBezTo>
                  <a:cubicBezTo>
                    <a:pt x="43" y="4"/>
                    <a:pt x="42" y="4"/>
                    <a:pt x="41" y="5"/>
                  </a:cubicBezTo>
                  <a:cubicBezTo>
                    <a:pt x="41" y="5"/>
                    <a:pt x="40" y="6"/>
                    <a:pt x="39" y="6"/>
                  </a:cubicBezTo>
                  <a:cubicBezTo>
                    <a:pt x="38" y="8"/>
                    <a:pt x="36" y="9"/>
                    <a:pt x="35" y="9"/>
                  </a:cubicBezTo>
                  <a:cubicBezTo>
                    <a:pt x="32" y="10"/>
                    <a:pt x="30" y="12"/>
                    <a:pt x="28" y="14"/>
                  </a:cubicBezTo>
                  <a:cubicBezTo>
                    <a:pt x="28" y="14"/>
                    <a:pt x="28" y="15"/>
                    <a:pt x="28" y="15"/>
                  </a:cubicBezTo>
                  <a:cubicBezTo>
                    <a:pt x="29" y="19"/>
                    <a:pt x="29" y="23"/>
                    <a:pt x="30" y="27"/>
                  </a:cubicBezTo>
                  <a:cubicBezTo>
                    <a:pt x="30" y="29"/>
                    <a:pt x="29" y="33"/>
                    <a:pt x="27" y="33"/>
                  </a:cubicBezTo>
                  <a:cubicBezTo>
                    <a:pt x="26" y="33"/>
                    <a:pt x="24" y="33"/>
                    <a:pt x="23" y="32"/>
                  </a:cubicBezTo>
                  <a:cubicBezTo>
                    <a:pt x="21" y="31"/>
                    <a:pt x="19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4" y="31"/>
                    <a:pt x="12" y="31"/>
                    <a:pt x="10" y="32"/>
                  </a:cubicBezTo>
                  <a:cubicBezTo>
                    <a:pt x="9" y="32"/>
                    <a:pt x="8" y="31"/>
                    <a:pt x="8" y="31"/>
                  </a:cubicBezTo>
                  <a:cubicBezTo>
                    <a:pt x="7" y="30"/>
                    <a:pt x="7" y="28"/>
                    <a:pt x="7" y="27"/>
                  </a:cubicBezTo>
                  <a:cubicBezTo>
                    <a:pt x="8" y="26"/>
                    <a:pt x="8" y="25"/>
                    <a:pt x="10" y="25"/>
                  </a:cubicBezTo>
                  <a:cubicBezTo>
                    <a:pt x="11" y="26"/>
                    <a:pt x="11" y="25"/>
                    <a:pt x="12" y="25"/>
                  </a:cubicBezTo>
                  <a:cubicBezTo>
                    <a:pt x="11" y="23"/>
                    <a:pt x="11" y="22"/>
                    <a:pt x="11" y="21"/>
                  </a:cubicBezTo>
                  <a:cubicBezTo>
                    <a:pt x="11" y="19"/>
                    <a:pt x="10" y="18"/>
                    <a:pt x="9" y="17"/>
                  </a:cubicBezTo>
                  <a:cubicBezTo>
                    <a:pt x="9" y="16"/>
                    <a:pt x="10" y="14"/>
                    <a:pt x="10" y="14"/>
                  </a:cubicBezTo>
                  <a:cubicBezTo>
                    <a:pt x="11" y="13"/>
                    <a:pt x="13" y="13"/>
                    <a:pt x="14" y="14"/>
                  </a:cubicBezTo>
                  <a:cubicBezTo>
                    <a:pt x="15" y="15"/>
                    <a:pt x="15" y="15"/>
                    <a:pt x="16" y="16"/>
                  </a:cubicBezTo>
                  <a:cubicBezTo>
                    <a:pt x="18" y="15"/>
                    <a:pt x="19" y="14"/>
                    <a:pt x="20" y="13"/>
                  </a:cubicBezTo>
                  <a:cubicBezTo>
                    <a:pt x="21" y="13"/>
                    <a:pt x="21" y="13"/>
                    <a:pt x="22" y="12"/>
                  </a:cubicBezTo>
                  <a:cubicBezTo>
                    <a:pt x="22" y="12"/>
                    <a:pt x="22" y="11"/>
                    <a:pt x="23" y="11"/>
                  </a:cubicBezTo>
                  <a:cubicBezTo>
                    <a:pt x="22" y="11"/>
                    <a:pt x="22" y="10"/>
                    <a:pt x="21" y="10"/>
                  </a:cubicBezTo>
                  <a:cubicBezTo>
                    <a:pt x="18" y="11"/>
                    <a:pt x="14" y="11"/>
                    <a:pt x="11" y="12"/>
                  </a:cubicBezTo>
                  <a:cubicBezTo>
                    <a:pt x="9" y="12"/>
                    <a:pt x="6" y="12"/>
                    <a:pt x="3" y="12"/>
                  </a:cubicBezTo>
                  <a:close/>
                  <a:moveTo>
                    <a:pt x="25" y="27"/>
                  </a:moveTo>
                  <a:cubicBezTo>
                    <a:pt x="24" y="24"/>
                    <a:pt x="24" y="21"/>
                    <a:pt x="24" y="18"/>
                  </a:cubicBezTo>
                  <a:cubicBezTo>
                    <a:pt x="21" y="20"/>
                    <a:pt x="19" y="22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8" y="25"/>
                    <a:pt x="19" y="25"/>
                    <a:pt x="20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41" name="Freeform 619">
              <a:extLst>
                <a:ext uri="{FF2B5EF4-FFF2-40B4-BE49-F238E27FC236}">
                  <a16:creationId xmlns:a16="http://schemas.microsoft.com/office/drawing/2014/main" id="{A26C58A0-9704-44C1-8FBB-AEE7ED70D6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9813" y="3538538"/>
              <a:ext cx="114300" cy="106363"/>
            </a:xfrm>
            <a:custGeom>
              <a:avLst/>
              <a:gdLst>
                <a:gd name="T0" fmla="*/ 28 w 29"/>
                <a:gd name="T1" fmla="*/ 25 h 27"/>
                <a:gd name="T2" fmla="*/ 20 w 29"/>
                <a:gd name="T3" fmla="*/ 26 h 27"/>
                <a:gd name="T4" fmla="*/ 11 w 29"/>
                <a:gd name="T5" fmla="*/ 27 h 27"/>
                <a:gd name="T6" fmla="*/ 7 w 29"/>
                <a:gd name="T7" fmla="*/ 23 h 27"/>
                <a:gd name="T8" fmla="*/ 3 w 29"/>
                <a:gd name="T9" fmla="*/ 19 h 27"/>
                <a:gd name="T10" fmla="*/ 1 w 29"/>
                <a:gd name="T11" fmla="*/ 9 h 27"/>
                <a:gd name="T12" fmla="*/ 3 w 29"/>
                <a:gd name="T13" fmla="*/ 0 h 27"/>
                <a:gd name="T14" fmla="*/ 5 w 29"/>
                <a:gd name="T15" fmla="*/ 2 h 27"/>
                <a:gd name="T16" fmla="*/ 5 w 29"/>
                <a:gd name="T17" fmla="*/ 1 h 27"/>
                <a:gd name="T18" fmla="*/ 8 w 29"/>
                <a:gd name="T19" fmla="*/ 1 h 27"/>
                <a:gd name="T20" fmla="*/ 21 w 29"/>
                <a:gd name="T21" fmla="*/ 0 h 27"/>
                <a:gd name="T22" fmla="*/ 26 w 29"/>
                <a:gd name="T23" fmla="*/ 4 h 27"/>
                <a:gd name="T24" fmla="*/ 29 w 29"/>
                <a:gd name="T25" fmla="*/ 18 h 27"/>
                <a:gd name="T26" fmla="*/ 28 w 29"/>
                <a:gd name="T27" fmla="*/ 25 h 27"/>
                <a:gd name="T28" fmla="*/ 5 w 29"/>
                <a:gd name="T29" fmla="*/ 6 h 27"/>
                <a:gd name="T30" fmla="*/ 9 w 29"/>
                <a:gd name="T31" fmla="*/ 20 h 27"/>
                <a:gd name="T32" fmla="*/ 23 w 29"/>
                <a:gd name="T33" fmla="*/ 21 h 27"/>
                <a:gd name="T34" fmla="*/ 25 w 29"/>
                <a:gd name="T35" fmla="*/ 21 h 27"/>
                <a:gd name="T36" fmla="*/ 25 w 29"/>
                <a:gd name="T37" fmla="*/ 19 h 27"/>
                <a:gd name="T38" fmla="*/ 24 w 29"/>
                <a:gd name="T39" fmla="*/ 18 h 27"/>
                <a:gd name="T40" fmla="*/ 23 w 29"/>
                <a:gd name="T41" fmla="*/ 10 h 27"/>
                <a:gd name="T42" fmla="*/ 19 w 29"/>
                <a:gd name="T43" fmla="*/ 7 h 27"/>
                <a:gd name="T44" fmla="*/ 12 w 29"/>
                <a:gd name="T45" fmla="*/ 7 h 27"/>
                <a:gd name="T46" fmla="*/ 5 w 29"/>
                <a:gd name="T4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7">
                  <a:moveTo>
                    <a:pt x="28" y="25"/>
                  </a:moveTo>
                  <a:cubicBezTo>
                    <a:pt x="25" y="26"/>
                    <a:pt x="22" y="26"/>
                    <a:pt x="20" y="26"/>
                  </a:cubicBezTo>
                  <a:cubicBezTo>
                    <a:pt x="17" y="26"/>
                    <a:pt x="14" y="27"/>
                    <a:pt x="11" y="27"/>
                  </a:cubicBezTo>
                  <a:cubicBezTo>
                    <a:pt x="8" y="27"/>
                    <a:pt x="7" y="25"/>
                    <a:pt x="7" y="23"/>
                  </a:cubicBezTo>
                  <a:cubicBezTo>
                    <a:pt x="4" y="23"/>
                    <a:pt x="4" y="22"/>
                    <a:pt x="3" y="19"/>
                  </a:cubicBezTo>
                  <a:cubicBezTo>
                    <a:pt x="3" y="16"/>
                    <a:pt x="1" y="12"/>
                    <a:pt x="1" y="9"/>
                  </a:cubicBezTo>
                  <a:cubicBezTo>
                    <a:pt x="1" y="6"/>
                    <a:pt x="0" y="3"/>
                    <a:pt x="3" y="0"/>
                  </a:cubicBezTo>
                  <a:cubicBezTo>
                    <a:pt x="4" y="1"/>
                    <a:pt x="4" y="1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8" y="1"/>
                  </a:cubicBezTo>
                  <a:cubicBezTo>
                    <a:pt x="12" y="1"/>
                    <a:pt x="17" y="2"/>
                    <a:pt x="21" y="0"/>
                  </a:cubicBezTo>
                  <a:cubicBezTo>
                    <a:pt x="23" y="0"/>
                    <a:pt x="26" y="1"/>
                    <a:pt x="26" y="4"/>
                  </a:cubicBezTo>
                  <a:cubicBezTo>
                    <a:pt x="27" y="9"/>
                    <a:pt x="28" y="14"/>
                    <a:pt x="29" y="18"/>
                  </a:cubicBezTo>
                  <a:cubicBezTo>
                    <a:pt x="29" y="21"/>
                    <a:pt x="29" y="23"/>
                    <a:pt x="28" y="25"/>
                  </a:cubicBezTo>
                  <a:close/>
                  <a:moveTo>
                    <a:pt x="5" y="6"/>
                  </a:moveTo>
                  <a:cubicBezTo>
                    <a:pt x="7" y="12"/>
                    <a:pt x="8" y="16"/>
                    <a:pt x="9" y="20"/>
                  </a:cubicBezTo>
                  <a:cubicBezTo>
                    <a:pt x="14" y="21"/>
                    <a:pt x="18" y="21"/>
                    <a:pt x="23" y="21"/>
                  </a:cubicBezTo>
                  <a:cubicBezTo>
                    <a:pt x="24" y="21"/>
                    <a:pt x="24" y="21"/>
                    <a:pt x="25" y="21"/>
                  </a:cubicBezTo>
                  <a:cubicBezTo>
                    <a:pt x="25" y="20"/>
                    <a:pt x="25" y="19"/>
                    <a:pt x="25" y="19"/>
                  </a:cubicBezTo>
                  <a:cubicBezTo>
                    <a:pt x="24" y="19"/>
                    <a:pt x="24" y="18"/>
                    <a:pt x="24" y="18"/>
                  </a:cubicBezTo>
                  <a:cubicBezTo>
                    <a:pt x="24" y="16"/>
                    <a:pt x="23" y="13"/>
                    <a:pt x="23" y="10"/>
                  </a:cubicBezTo>
                  <a:cubicBezTo>
                    <a:pt x="22" y="8"/>
                    <a:pt x="21" y="7"/>
                    <a:pt x="19" y="7"/>
                  </a:cubicBezTo>
                  <a:cubicBezTo>
                    <a:pt x="17" y="7"/>
                    <a:pt x="14" y="7"/>
                    <a:pt x="12" y="7"/>
                  </a:cubicBezTo>
                  <a:cubicBezTo>
                    <a:pt x="10" y="6"/>
                    <a:pt x="8" y="6"/>
                    <a:pt x="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42" name="Freeform 620">
              <a:extLst>
                <a:ext uri="{FF2B5EF4-FFF2-40B4-BE49-F238E27FC236}">
                  <a16:creationId xmlns:a16="http://schemas.microsoft.com/office/drawing/2014/main" id="{D61BB244-D36A-4835-89FE-2726927F17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9038" y="3440113"/>
              <a:ext cx="188913" cy="34925"/>
            </a:xfrm>
            <a:custGeom>
              <a:avLst/>
              <a:gdLst>
                <a:gd name="T0" fmla="*/ 3 w 48"/>
                <a:gd name="T1" fmla="*/ 9 h 9"/>
                <a:gd name="T2" fmla="*/ 0 w 48"/>
                <a:gd name="T3" fmla="*/ 3 h 9"/>
                <a:gd name="T4" fmla="*/ 2 w 48"/>
                <a:gd name="T5" fmla="*/ 0 h 9"/>
                <a:gd name="T6" fmla="*/ 4 w 48"/>
                <a:gd name="T7" fmla="*/ 1 h 9"/>
                <a:gd name="T8" fmla="*/ 7 w 48"/>
                <a:gd name="T9" fmla="*/ 0 h 9"/>
                <a:gd name="T10" fmla="*/ 12 w 48"/>
                <a:gd name="T11" fmla="*/ 1 h 9"/>
                <a:gd name="T12" fmla="*/ 22 w 48"/>
                <a:gd name="T13" fmla="*/ 0 h 9"/>
                <a:gd name="T14" fmla="*/ 29 w 48"/>
                <a:gd name="T15" fmla="*/ 2 h 9"/>
                <a:gd name="T16" fmla="*/ 40 w 48"/>
                <a:gd name="T17" fmla="*/ 2 h 9"/>
                <a:gd name="T18" fmla="*/ 47 w 48"/>
                <a:gd name="T19" fmla="*/ 3 h 9"/>
                <a:gd name="T20" fmla="*/ 48 w 48"/>
                <a:gd name="T21" fmla="*/ 4 h 9"/>
                <a:gd name="T22" fmla="*/ 47 w 48"/>
                <a:gd name="T23" fmla="*/ 7 h 9"/>
                <a:gd name="T24" fmla="*/ 43 w 48"/>
                <a:gd name="T25" fmla="*/ 8 h 9"/>
                <a:gd name="T26" fmla="*/ 28 w 48"/>
                <a:gd name="T27" fmla="*/ 8 h 9"/>
                <a:gd name="T28" fmla="*/ 20 w 48"/>
                <a:gd name="T29" fmla="*/ 7 h 9"/>
                <a:gd name="T30" fmla="*/ 18 w 48"/>
                <a:gd name="T31" fmla="*/ 7 h 9"/>
                <a:gd name="T32" fmla="*/ 9 w 48"/>
                <a:gd name="T33" fmla="*/ 6 h 9"/>
                <a:gd name="T34" fmla="*/ 3 w 48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9">
                  <a:moveTo>
                    <a:pt x="3" y="9"/>
                  </a:moveTo>
                  <a:cubicBezTo>
                    <a:pt x="0" y="8"/>
                    <a:pt x="0" y="6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5" y="2"/>
                    <a:pt x="6" y="1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6" y="2"/>
                    <a:pt x="19" y="2"/>
                    <a:pt x="22" y="0"/>
                  </a:cubicBezTo>
                  <a:cubicBezTo>
                    <a:pt x="23" y="2"/>
                    <a:pt x="26" y="3"/>
                    <a:pt x="29" y="2"/>
                  </a:cubicBezTo>
                  <a:cubicBezTo>
                    <a:pt x="33" y="2"/>
                    <a:pt x="36" y="1"/>
                    <a:pt x="40" y="2"/>
                  </a:cubicBezTo>
                  <a:cubicBezTo>
                    <a:pt x="42" y="3"/>
                    <a:pt x="44" y="3"/>
                    <a:pt x="47" y="3"/>
                  </a:cubicBezTo>
                  <a:cubicBezTo>
                    <a:pt x="47" y="3"/>
                    <a:pt x="48" y="4"/>
                    <a:pt x="48" y="4"/>
                  </a:cubicBezTo>
                  <a:cubicBezTo>
                    <a:pt x="48" y="5"/>
                    <a:pt x="48" y="7"/>
                    <a:pt x="47" y="7"/>
                  </a:cubicBezTo>
                  <a:cubicBezTo>
                    <a:pt x="46" y="8"/>
                    <a:pt x="44" y="8"/>
                    <a:pt x="43" y="8"/>
                  </a:cubicBezTo>
                  <a:cubicBezTo>
                    <a:pt x="38" y="7"/>
                    <a:pt x="33" y="6"/>
                    <a:pt x="28" y="8"/>
                  </a:cubicBezTo>
                  <a:cubicBezTo>
                    <a:pt x="26" y="8"/>
                    <a:pt x="22" y="9"/>
                    <a:pt x="20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5" y="7"/>
                    <a:pt x="12" y="7"/>
                    <a:pt x="9" y="6"/>
                  </a:cubicBezTo>
                  <a:cubicBezTo>
                    <a:pt x="7" y="6"/>
                    <a:pt x="5" y="8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43" name="Freeform 621">
              <a:extLst>
                <a:ext uri="{FF2B5EF4-FFF2-40B4-BE49-F238E27FC236}">
                  <a16:creationId xmlns:a16="http://schemas.microsoft.com/office/drawing/2014/main" id="{424377A8-C16F-4929-9326-D232EF266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3800" y="3570288"/>
              <a:ext cx="188913" cy="26988"/>
            </a:xfrm>
            <a:custGeom>
              <a:avLst/>
              <a:gdLst>
                <a:gd name="T0" fmla="*/ 10 w 48"/>
                <a:gd name="T1" fmla="*/ 1 h 7"/>
                <a:gd name="T2" fmla="*/ 20 w 48"/>
                <a:gd name="T3" fmla="*/ 0 h 7"/>
                <a:gd name="T4" fmla="*/ 27 w 48"/>
                <a:gd name="T5" fmla="*/ 1 h 7"/>
                <a:gd name="T6" fmla="*/ 33 w 48"/>
                <a:gd name="T7" fmla="*/ 2 h 7"/>
                <a:gd name="T8" fmla="*/ 44 w 48"/>
                <a:gd name="T9" fmla="*/ 2 h 7"/>
                <a:gd name="T10" fmla="*/ 48 w 48"/>
                <a:gd name="T11" fmla="*/ 3 h 7"/>
                <a:gd name="T12" fmla="*/ 48 w 48"/>
                <a:gd name="T13" fmla="*/ 5 h 7"/>
                <a:gd name="T14" fmla="*/ 46 w 48"/>
                <a:gd name="T15" fmla="*/ 6 h 7"/>
                <a:gd name="T16" fmla="*/ 34 w 48"/>
                <a:gd name="T17" fmla="*/ 7 h 7"/>
                <a:gd name="T18" fmla="*/ 27 w 48"/>
                <a:gd name="T19" fmla="*/ 7 h 7"/>
                <a:gd name="T20" fmla="*/ 21 w 48"/>
                <a:gd name="T21" fmla="*/ 6 h 7"/>
                <a:gd name="T22" fmla="*/ 16 w 48"/>
                <a:gd name="T23" fmla="*/ 7 h 7"/>
                <a:gd name="T24" fmla="*/ 13 w 48"/>
                <a:gd name="T25" fmla="*/ 6 h 7"/>
                <a:gd name="T26" fmla="*/ 4 w 48"/>
                <a:gd name="T27" fmla="*/ 7 h 7"/>
                <a:gd name="T28" fmla="*/ 1 w 48"/>
                <a:gd name="T29" fmla="*/ 6 h 7"/>
                <a:gd name="T30" fmla="*/ 2 w 48"/>
                <a:gd name="T31" fmla="*/ 3 h 7"/>
                <a:gd name="T32" fmla="*/ 9 w 48"/>
                <a:gd name="T33" fmla="*/ 0 h 7"/>
                <a:gd name="T34" fmla="*/ 10 w 48"/>
                <a:gd name="T3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7">
                  <a:moveTo>
                    <a:pt x="10" y="1"/>
                  </a:moveTo>
                  <a:cubicBezTo>
                    <a:pt x="13" y="0"/>
                    <a:pt x="17" y="0"/>
                    <a:pt x="20" y="0"/>
                  </a:cubicBezTo>
                  <a:cubicBezTo>
                    <a:pt x="22" y="0"/>
                    <a:pt x="25" y="1"/>
                    <a:pt x="27" y="1"/>
                  </a:cubicBezTo>
                  <a:cubicBezTo>
                    <a:pt x="29" y="1"/>
                    <a:pt x="31" y="1"/>
                    <a:pt x="33" y="2"/>
                  </a:cubicBezTo>
                  <a:cubicBezTo>
                    <a:pt x="37" y="3"/>
                    <a:pt x="41" y="1"/>
                    <a:pt x="44" y="2"/>
                  </a:cubicBezTo>
                  <a:cubicBezTo>
                    <a:pt x="46" y="2"/>
                    <a:pt x="47" y="2"/>
                    <a:pt x="48" y="3"/>
                  </a:cubicBezTo>
                  <a:cubicBezTo>
                    <a:pt x="48" y="3"/>
                    <a:pt x="48" y="4"/>
                    <a:pt x="48" y="5"/>
                  </a:cubicBezTo>
                  <a:cubicBezTo>
                    <a:pt x="48" y="5"/>
                    <a:pt x="47" y="6"/>
                    <a:pt x="46" y="6"/>
                  </a:cubicBezTo>
                  <a:cubicBezTo>
                    <a:pt x="42" y="7"/>
                    <a:pt x="38" y="7"/>
                    <a:pt x="34" y="7"/>
                  </a:cubicBezTo>
                  <a:cubicBezTo>
                    <a:pt x="32" y="7"/>
                    <a:pt x="29" y="7"/>
                    <a:pt x="27" y="7"/>
                  </a:cubicBezTo>
                  <a:cubicBezTo>
                    <a:pt x="25" y="6"/>
                    <a:pt x="23" y="6"/>
                    <a:pt x="21" y="6"/>
                  </a:cubicBezTo>
                  <a:cubicBezTo>
                    <a:pt x="19" y="6"/>
                    <a:pt x="17" y="6"/>
                    <a:pt x="16" y="7"/>
                  </a:cubicBezTo>
                  <a:cubicBezTo>
                    <a:pt x="15" y="7"/>
                    <a:pt x="14" y="6"/>
                    <a:pt x="13" y="6"/>
                  </a:cubicBezTo>
                  <a:cubicBezTo>
                    <a:pt x="10" y="5"/>
                    <a:pt x="7" y="6"/>
                    <a:pt x="4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1" y="5"/>
                    <a:pt x="0" y="3"/>
                    <a:pt x="2" y="3"/>
                  </a:cubicBezTo>
                  <a:cubicBezTo>
                    <a:pt x="4" y="2"/>
                    <a:pt x="7" y="1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44" name="Freeform 622">
              <a:extLst>
                <a:ext uri="{FF2B5EF4-FFF2-40B4-BE49-F238E27FC236}">
                  <a16:creationId xmlns:a16="http://schemas.microsoft.com/office/drawing/2014/main" id="{F1C18C81-BA21-419B-B8A0-2519F8B050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5863" y="3192463"/>
              <a:ext cx="58738" cy="66675"/>
            </a:xfrm>
            <a:custGeom>
              <a:avLst/>
              <a:gdLst>
                <a:gd name="T0" fmla="*/ 10 w 15"/>
                <a:gd name="T1" fmla="*/ 0 h 17"/>
                <a:gd name="T2" fmla="*/ 14 w 15"/>
                <a:gd name="T3" fmla="*/ 2 h 17"/>
                <a:gd name="T4" fmla="*/ 15 w 15"/>
                <a:gd name="T5" fmla="*/ 7 h 17"/>
                <a:gd name="T6" fmla="*/ 7 w 15"/>
                <a:gd name="T7" fmla="*/ 16 h 17"/>
                <a:gd name="T8" fmla="*/ 0 w 15"/>
                <a:gd name="T9" fmla="*/ 12 h 17"/>
                <a:gd name="T10" fmla="*/ 5 w 15"/>
                <a:gd name="T11" fmla="*/ 1 h 17"/>
                <a:gd name="T12" fmla="*/ 10 w 15"/>
                <a:gd name="T13" fmla="*/ 0 h 17"/>
                <a:gd name="T14" fmla="*/ 10 w 15"/>
                <a:gd name="T15" fmla="*/ 7 h 17"/>
                <a:gd name="T16" fmla="*/ 5 w 15"/>
                <a:gd name="T17" fmla="*/ 9 h 17"/>
                <a:gd name="T18" fmla="*/ 8 w 15"/>
                <a:gd name="T19" fmla="*/ 11 h 17"/>
                <a:gd name="T20" fmla="*/ 10 w 15"/>
                <a:gd name="T21" fmla="*/ 8 h 17"/>
                <a:gd name="T22" fmla="*/ 10 w 15"/>
                <a:gd name="T23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7">
                  <a:moveTo>
                    <a:pt x="10" y="0"/>
                  </a:moveTo>
                  <a:cubicBezTo>
                    <a:pt x="11" y="1"/>
                    <a:pt x="13" y="1"/>
                    <a:pt x="14" y="2"/>
                  </a:cubicBezTo>
                  <a:cubicBezTo>
                    <a:pt x="15" y="3"/>
                    <a:pt x="15" y="5"/>
                    <a:pt x="15" y="7"/>
                  </a:cubicBezTo>
                  <a:cubicBezTo>
                    <a:pt x="15" y="11"/>
                    <a:pt x="11" y="16"/>
                    <a:pt x="7" y="16"/>
                  </a:cubicBezTo>
                  <a:cubicBezTo>
                    <a:pt x="5" y="17"/>
                    <a:pt x="1" y="15"/>
                    <a:pt x="0" y="12"/>
                  </a:cubicBezTo>
                  <a:cubicBezTo>
                    <a:pt x="0" y="8"/>
                    <a:pt x="2" y="3"/>
                    <a:pt x="5" y="1"/>
                  </a:cubicBezTo>
                  <a:cubicBezTo>
                    <a:pt x="6" y="1"/>
                    <a:pt x="8" y="1"/>
                    <a:pt x="10" y="0"/>
                  </a:cubicBezTo>
                  <a:close/>
                  <a:moveTo>
                    <a:pt x="10" y="7"/>
                  </a:moveTo>
                  <a:cubicBezTo>
                    <a:pt x="6" y="7"/>
                    <a:pt x="5" y="8"/>
                    <a:pt x="5" y="9"/>
                  </a:cubicBezTo>
                  <a:cubicBezTo>
                    <a:pt x="5" y="11"/>
                    <a:pt x="6" y="12"/>
                    <a:pt x="8" y="11"/>
                  </a:cubicBezTo>
                  <a:cubicBezTo>
                    <a:pt x="9" y="11"/>
                    <a:pt x="10" y="9"/>
                    <a:pt x="10" y="8"/>
                  </a:cubicBezTo>
                  <a:cubicBezTo>
                    <a:pt x="11" y="8"/>
                    <a:pt x="10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B6689AD-7D48-41C2-B8F5-4FF7064906ED}"/>
              </a:ext>
            </a:extLst>
          </p:cNvPr>
          <p:cNvGrpSpPr>
            <a:grpSpLocks noChangeAspect="1"/>
          </p:cNvGrpSpPr>
          <p:nvPr/>
        </p:nvGrpSpPr>
        <p:grpSpPr>
          <a:xfrm>
            <a:off x="10225354" y="2818656"/>
            <a:ext cx="618272" cy="537352"/>
            <a:chOff x="987425" y="682625"/>
            <a:chExt cx="1855788" cy="1612900"/>
          </a:xfrm>
          <a:solidFill>
            <a:srgbClr val="F40009"/>
          </a:solidFill>
        </p:grpSpPr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32E18073-7F8C-4D8F-A06D-78EDEDEB40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7313" y="1289050"/>
              <a:ext cx="596900" cy="400050"/>
            </a:xfrm>
            <a:custGeom>
              <a:avLst/>
              <a:gdLst>
                <a:gd name="T0" fmla="*/ 0 w 61"/>
                <a:gd name="T1" fmla="*/ 38 h 41"/>
                <a:gd name="T2" fmla="*/ 24 w 61"/>
                <a:gd name="T3" fmla="*/ 10 h 41"/>
                <a:gd name="T4" fmla="*/ 58 w 61"/>
                <a:gd name="T5" fmla="*/ 4 h 41"/>
                <a:gd name="T6" fmla="*/ 35 w 61"/>
                <a:gd name="T7" fmla="*/ 33 h 41"/>
                <a:gd name="T8" fmla="*/ 0 w 61"/>
                <a:gd name="T9" fmla="*/ 38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41">
                  <a:moveTo>
                    <a:pt x="0" y="38"/>
                  </a:moveTo>
                  <a:cubicBezTo>
                    <a:pt x="0" y="38"/>
                    <a:pt x="6" y="20"/>
                    <a:pt x="24" y="10"/>
                  </a:cubicBezTo>
                  <a:cubicBezTo>
                    <a:pt x="41" y="0"/>
                    <a:pt x="55" y="2"/>
                    <a:pt x="58" y="4"/>
                  </a:cubicBezTo>
                  <a:cubicBezTo>
                    <a:pt x="61" y="7"/>
                    <a:pt x="50" y="25"/>
                    <a:pt x="35" y="33"/>
                  </a:cubicBezTo>
                  <a:cubicBezTo>
                    <a:pt x="19" y="41"/>
                    <a:pt x="0" y="38"/>
                    <a:pt x="0" y="3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2455EB2-673F-447F-8A16-9D04015276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263" y="1327150"/>
              <a:ext cx="576263" cy="342900"/>
            </a:xfrm>
            <a:custGeom>
              <a:avLst/>
              <a:gdLst>
                <a:gd name="T0" fmla="*/ 0 w 59"/>
                <a:gd name="T1" fmla="*/ 0 h 35"/>
                <a:gd name="T2" fmla="*/ 0 w 59"/>
                <a:gd name="T3" fmla="*/ 0 h 35"/>
                <a:gd name="T4" fmla="*/ 0 w 59"/>
                <a:gd name="T5" fmla="*/ 0 h 35"/>
                <a:gd name="T6" fmla="*/ 0 w 59"/>
                <a:gd name="T7" fmla="*/ 0 h 35"/>
                <a:gd name="T8" fmla="*/ 0 w 59"/>
                <a:gd name="T9" fmla="*/ 0 h 35"/>
                <a:gd name="T10" fmla="*/ 21 w 59"/>
                <a:gd name="T11" fmla="*/ 0 h 35"/>
                <a:gd name="T12" fmla="*/ 21 w 59"/>
                <a:gd name="T13" fmla="*/ 0 h 35"/>
                <a:gd name="T14" fmla="*/ 21 w 59"/>
                <a:gd name="T15" fmla="*/ 0 h 35"/>
                <a:gd name="T16" fmla="*/ 11 w 59"/>
                <a:gd name="T17" fmla="*/ 19 h 35"/>
                <a:gd name="T18" fmla="*/ 55 w 59"/>
                <a:gd name="T19" fmla="*/ 35 h 35"/>
                <a:gd name="T20" fmla="*/ 59 w 59"/>
                <a:gd name="T21" fmla="*/ 35 h 35"/>
                <a:gd name="T22" fmla="*/ 36 w 59"/>
                <a:gd name="T23" fmla="*/ 5 h 35"/>
                <a:gd name="T24" fmla="*/ 21 w 59"/>
                <a:gd name="T25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" h="3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moveTo>
                    <a:pt x="21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3" y="2"/>
                    <a:pt x="19" y="11"/>
                    <a:pt x="11" y="19"/>
                  </a:cubicBezTo>
                  <a:cubicBezTo>
                    <a:pt x="26" y="33"/>
                    <a:pt x="46" y="35"/>
                    <a:pt x="55" y="35"/>
                  </a:cubicBezTo>
                  <a:cubicBezTo>
                    <a:pt x="58" y="35"/>
                    <a:pt x="59" y="35"/>
                    <a:pt x="59" y="35"/>
                  </a:cubicBezTo>
                  <a:cubicBezTo>
                    <a:pt x="59" y="35"/>
                    <a:pt x="49" y="15"/>
                    <a:pt x="36" y="5"/>
                  </a:cubicBezTo>
                  <a:cubicBezTo>
                    <a:pt x="32" y="2"/>
                    <a:pt x="26" y="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DBCBCA46-7195-4F9F-AA6C-6051A9557D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263" y="1327150"/>
              <a:ext cx="225425" cy="185738"/>
            </a:xfrm>
            <a:custGeom>
              <a:avLst/>
              <a:gdLst>
                <a:gd name="T0" fmla="*/ 21 w 23"/>
                <a:gd name="T1" fmla="*/ 0 h 19"/>
                <a:gd name="T2" fmla="*/ 11 w 23"/>
                <a:gd name="T3" fmla="*/ 19 h 19"/>
                <a:gd name="T4" fmla="*/ 11 w 23"/>
                <a:gd name="T5" fmla="*/ 19 h 19"/>
                <a:gd name="T6" fmla="*/ 21 w 23"/>
                <a:gd name="T7" fmla="*/ 0 h 19"/>
                <a:gd name="T8" fmla="*/ 21 w 23"/>
                <a:gd name="T9" fmla="*/ 0 h 19"/>
                <a:gd name="T10" fmla="*/ 0 w 23"/>
                <a:gd name="T11" fmla="*/ 0 h 19"/>
                <a:gd name="T12" fmla="*/ 0 w 23"/>
                <a:gd name="T13" fmla="*/ 0 h 19"/>
                <a:gd name="T14" fmla="*/ 3 w 23"/>
                <a:gd name="T15" fmla="*/ 8 h 19"/>
                <a:gd name="T16" fmla="*/ 0 w 23"/>
                <a:gd name="T1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9">
                  <a:moveTo>
                    <a:pt x="21" y="0"/>
                  </a:moveTo>
                  <a:cubicBezTo>
                    <a:pt x="17" y="12"/>
                    <a:pt x="13" y="17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9" y="11"/>
                    <a:pt x="23" y="2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3"/>
                    <a:pt x="2" y="6"/>
                    <a:pt x="3" y="8"/>
                  </a:cubicBezTo>
                  <a:cubicBezTo>
                    <a:pt x="2" y="6"/>
                    <a:pt x="1" y="3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62EAD854-885E-4C86-80FA-BEDF065FF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90688" y="858838"/>
              <a:ext cx="301625" cy="468313"/>
            </a:xfrm>
            <a:custGeom>
              <a:avLst/>
              <a:gdLst>
                <a:gd name="T0" fmla="*/ 14 w 31"/>
                <a:gd name="T1" fmla="*/ 0 h 48"/>
                <a:gd name="T2" fmla="*/ 1 w 31"/>
                <a:gd name="T3" fmla="*/ 28 h 48"/>
                <a:gd name="T4" fmla="*/ 3 w 31"/>
                <a:gd name="T5" fmla="*/ 48 h 48"/>
                <a:gd name="T6" fmla="*/ 5 w 31"/>
                <a:gd name="T7" fmla="*/ 48 h 48"/>
                <a:gd name="T8" fmla="*/ 14 w 31"/>
                <a:gd name="T9" fmla="*/ 47 h 48"/>
                <a:gd name="T10" fmla="*/ 21 w 31"/>
                <a:gd name="T11" fmla="*/ 47 h 48"/>
                <a:gd name="T12" fmla="*/ 24 w 31"/>
                <a:gd name="T13" fmla="*/ 48 h 48"/>
                <a:gd name="T14" fmla="*/ 26 w 31"/>
                <a:gd name="T15" fmla="*/ 40 h 48"/>
                <a:gd name="T16" fmla="*/ 14 w 31"/>
                <a:gd name="T17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48">
                  <a:moveTo>
                    <a:pt x="14" y="0"/>
                  </a:moveTo>
                  <a:cubicBezTo>
                    <a:pt x="14" y="0"/>
                    <a:pt x="5" y="9"/>
                    <a:pt x="1" y="28"/>
                  </a:cubicBezTo>
                  <a:cubicBezTo>
                    <a:pt x="0" y="35"/>
                    <a:pt x="1" y="42"/>
                    <a:pt x="3" y="48"/>
                  </a:cubicBezTo>
                  <a:cubicBezTo>
                    <a:pt x="3" y="48"/>
                    <a:pt x="4" y="48"/>
                    <a:pt x="5" y="48"/>
                  </a:cubicBezTo>
                  <a:cubicBezTo>
                    <a:pt x="8" y="47"/>
                    <a:pt x="12" y="47"/>
                    <a:pt x="14" y="47"/>
                  </a:cubicBezTo>
                  <a:cubicBezTo>
                    <a:pt x="17" y="47"/>
                    <a:pt x="19" y="47"/>
                    <a:pt x="21" y="47"/>
                  </a:cubicBezTo>
                  <a:cubicBezTo>
                    <a:pt x="22" y="47"/>
                    <a:pt x="23" y="48"/>
                    <a:pt x="24" y="48"/>
                  </a:cubicBezTo>
                  <a:cubicBezTo>
                    <a:pt x="25" y="46"/>
                    <a:pt x="25" y="43"/>
                    <a:pt x="26" y="40"/>
                  </a:cubicBezTo>
                  <a:cubicBezTo>
                    <a:pt x="31" y="17"/>
                    <a:pt x="14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F0B1F0FA-A9A4-4370-98C7-DCE1933CF8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8313" y="1317625"/>
              <a:ext cx="157163" cy="195263"/>
            </a:xfrm>
            <a:custGeom>
              <a:avLst/>
              <a:gdLst>
                <a:gd name="T0" fmla="*/ 1 w 16"/>
                <a:gd name="T1" fmla="*/ 9 h 20"/>
                <a:gd name="T2" fmla="*/ 8 w 16"/>
                <a:gd name="T3" fmla="*/ 20 h 20"/>
                <a:gd name="T4" fmla="*/ 9 w 16"/>
                <a:gd name="T5" fmla="*/ 20 h 20"/>
                <a:gd name="T6" fmla="*/ 1 w 16"/>
                <a:gd name="T7" fmla="*/ 9 h 20"/>
                <a:gd name="T8" fmla="*/ 9 w 16"/>
                <a:gd name="T9" fmla="*/ 0 h 20"/>
                <a:gd name="T10" fmla="*/ 0 w 16"/>
                <a:gd name="T11" fmla="*/ 1 h 20"/>
                <a:gd name="T12" fmla="*/ 10 w 16"/>
                <a:gd name="T13" fmla="*/ 0 h 20"/>
                <a:gd name="T14" fmla="*/ 16 w 16"/>
                <a:gd name="T15" fmla="*/ 0 h 20"/>
                <a:gd name="T16" fmla="*/ 9 w 16"/>
                <a:gd name="T1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0">
                  <a:moveTo>
                    <a:pt x="1" y="9"/>
                  </a:moveTo>
                  <a:cubicBezTo>
                    <a:pt x="4" y="16"/>
                    <a:pt x="8" y="20"/>
                    <a:pt x="8" y="20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6" y="17"/>
                    <a:pt x="4" y="13"/>
                    <a:pt x="1" y="9"/>
                  </a:cubicBezTo>
                  <a:moveTo>
                    <a:pt x="9" y="0"/>
                  </a:moveTo>
                  <a:cubicBezTo>
                    <a:pt x="7" y="0"/>
                    <a:pt x="3" y="0"/>
                    <a:pt x="0" y="1"/>
                  </a:cubicBezTo>
                  <a:cubicBezTo>
                    <a:pt x="2" y="0"/>
                    <a:pt x="6" y="0"/>
                    <a:pt x="10" y="0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4" y="0"/>
                    <a:pt x="12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B69140D0-A1A1-464E-87AB-82212A8522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9263" y="1317625"/>
              <a:ext cx="204788" cy="9525"/>
            </a:xfrm>
            <a:custGeom>
              <a:avLst/>
              <a:gdLst>
                <a:gd name="T0" fmla="*/ 2 w 21"/>
                <a:gd name="T1" fmla="*/ 1 h 1"/>
                <a:gd name="T2" fmla="*/ 0 w 21"/>
                <a:gd name="T3" fmla="*/ 1 h 1"/>
                <a:gd name="T4" fmla="*/ 0 w 21"/>
                <a:gd name="T5" fmla="*/ 1 h 1"/>
                <a:gd name="T6" fmla="*/ 2 w 21"/>
                <a:gd name="T7" fmla="*/ 1 h 1"/>
                <a:gd name="T8" fmla="*/ 18 w 21"/>
                <a:gd name="T9" fmla="*/ 0 h 1"/>
                <a:gd name="T10" fmla="*/ 21 w 21"/>
                <a:gd name="T11" fmla="*/ 1 h 1"/>
                <a:gd name="T12" fmla="*/ 21 w 21"/>
                <a:gd name="T13" fmla="*/ 1 h 1"/>
                <a:gd name="T14" fmla="*/ 18 w 21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">
                  <a:moveTo>
                    <a:pt x="2" y="1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moveTo>
                    <a:pt x="18" y="0"/>
                  </a:moveTo>
                  <a:cubicBezTo>
                    <a:pt x="19" y="1"/>
                    <a:pt x="20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1"/>
                    <a:pt x="19" y="0"/>
                    <a:pt x="18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4" name="Freeform 27">
              <a:extLst>
                <a:ext uri="{FF2B5EF4-FFF2-40B4-BE49-F238E27FC236}">
                  <a16:creationId xmlns:a16="http://schemas.microsoft.com/office/drawing/2014/main" id="{39B44BDA-3227-4659-93F5-A1AFE383F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9263" y="1317625"/>
              <a:ext cx="204788" cy="195263"/>
            </a:xfrm>
            <a:custGeom>
              <a:avLst/>
              <a:gdLst>
                <a:gd name="T0" fmla="*/ 12 w 21"/>
                <a:gd name="T1" fmla="*/ 0 h 20"/>
                <a:gd name="T2" fmla="*/ 2 w 21"/>
                <a:gd name="T3" fmla="*/ 1 h 20"/>
                <a:gd name="T4" fmla="*/ 0 w 21"/>
                <a:gd name="T5" fmla="*/ 1 h 20"/>
                <a:gd name="T6" fmla="*/ 3 w 21"/>
                <a:gd name="T7" fmla="*/ 9 h 20"/>
                <a:gd name="T8" fmla="*/ 11 w 21"/>
                <a:gd name="T9" fmla="*/ 20 h 20"/>
                <a:gd name="T10" fmla="*/ 21 w 21"/>
                <a:gd name="T11" fmla="*/ 1 h 20"/>
                <a:gd name="T12" fmla="*/ 18 w 21"/>
                <a:gd name="T13" fmla="*/ 0 h 20"/>
                <a:gd name="T14" fmla="*/ 12 w 21"/>
                <a:gd name="T15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12" y="0"/>
                  </a:moveTo>
                  <a:cubicBezTo>
                    <a:pt x="8" y="0"/>
                    <a:pt x="4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1" y="4"/>
                    <a:pt x="2" y="7"/>
                    <a:pt x="3" y="9"/>
                  </a:cubicBezTo>
                  <a:cubicBezTo>
                    <a:pt x="6" y="13"/>
                    <a:pt x="8" y="17"/>
                    <a:pt x="11" y="20"/>
                  </a:cubicBezTo>
                  <a:cubicBezTo>
                    <a:pt x="13" y="18"/>
                    <a:pt x="17" y="13"/>
                    <a:pt x="21" y="1"/>
                  </a:cubicBezTo>
                  <a:cubicBezTo>
                    <a:pt x="20" y="1"/>
                    <a:pt x="19" y="1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5" name="Freeform 28">
              <a:extLst>
                <a:ext uri="{FF2B5EF4-FFF2-40B4-BE49-F238E27FC236}">
                  <a16:creationId xmlns:a16="http://schemas.microsoft.com/office/drawing/2014/main" id="{B43D1DA7-7B71-4F21-8AEA-A31E0566C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9263" y="1308100"/>
              <a:ext cx="566738" cy="400050"/>
            </a:xfrm>
            <a:custGeom>
              <a:avLst/>
              <a:gdLst>
                <a:gd name="T0" fmla="*/ 58 w 58"/>
                <a:gd name="T1" fmla="*/ 35 h 41"/>
                <a:gd name="T2" fmla="*/ 18 w 58"/>
                <a:gd name="T3" fmla="*/ 26 h 41"/>
                <a:gd name="T4" fmla="*/ 1 w 58"/>
                <a:gd name="T5" fmla="*/ 3 h 41"/>
                <a:gd name="T6" fmla="*/ 40 w 58"/>
                <a:gd name="T7" fmla="*/ 11 h 41"/>
                <a:gd name="T8" fmla="*/ 58 w 58"/>
                <a:gd name="T9" fmla="*/ 3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1">
                  <a:moveTo>
                    <a:pt x="58" y="35"/>
                  </a:moveTo>
                  <a:cubicBezTo>
                    <a:pt x="58" y="35"/>
                    <a:pt x="35" y="41"/>
                    <a:pt x="18" y="26"/>
                  </a:cubicBezTo>
                  <a:cubicBezTo>
                    <a:pt x="0" y="11"/>
                    <a:pt x="1" y="3"/>
                    <a:pt x="1" y="3"/>
                  </a:cubicBezTo>
                  <a:cubicBezTo>
                    <a:pt x="1" y="3"/>
                    <a:pt x="25" y="0"/>
                    <a:pt x="40" y="11"/>
                  </a:cubicBezTo>
                  <a:cubicBezTo>
                    <a:pt x="55" y="23"/>
                    <a:pt x="58" y="35"/>
                    <a:pt x="58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6" name="Freeform 29">
              <a:extLst>
                <a:ext uri="{FF2B5EF4-FFF2-40B4-BE49-F238E27FC236}">
                  <a16:creationId xmlns:a16="http://schemas.microsoft.com/office/drawing/2014/main" id="{54A0740A-4447-432C-A1A8-0B8FFBC035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7425" y="682625"/>
              <a:ext cx="1709738" cy="1612900"/>
            </a:xfrm>
            <a:custGeom>
              <a:avLst/>
              <a:gdLst>
                <a:gd name="T0" fmla="*/ 62 w 175"/>
                <a:gd name="T1" fmla="*/ 5 h 165"/>
                <a:gd name="T2" fmla="*/ 4 w 175"/>
                <a:gd name="T3" fmla="*/ 38 h 165"/>
                <a:gd name="T4" fmla="*/ 4 w 175"/>
                <a:gd name="T5" fmla="*/ 59 h 165"/>
                <a:gd name="T6" fmla="*/ 6 w 175"/>
                <a:gd name="T7" fmla="*/ 70 h 165"/>
                <a:gd name="T8" fmla="*/ 46 w 175"/>
                <a:gd name="T9" fmla="*/ 99 h 165"/>
                <a:gd name="T10" fmla="*/ 58 w 175"/>
                <a:gd name="T11" fmla="*/ 99 h 165"/>
                <a:gd name="T12" fmla="*/ 82 w 175"/>
                <a:gd name="T13" fmla="*/ 85 h 165"/>
                <a:gd name="T14" fmla="*/ 90 w 175"/>
                <a:gd name="T15" fmla="*/ 28 h 165"/>
                <a:gd name="T16" fmla="*/ 95 w 175"/>
                <a:gd name="T17" fmla="*/ 30 h 165"/>
                <a:gd name="T18" fmla="*/ 94 w 175"/>
                <a:gd name="T19" fmla="*/ 77 h 165"/>
                <a:gd name="T20" fmla="*/ 70 w 175"/>
                <a:gd name="T21" fmla="*/ 98 h 165"/>
                <a:gd name="T22" fmla="*/ 57 w 175"/>
                <a:gd name="T23" fmla="*/ 103 h 165"/>
                <a:gd name="T24" fmla="*/ 42 w 175"/>
                <a:gd name="T25" fmla="*/ 103 h 165"/>
                <a:gd name="T26" fmla="*/ 19 w 175"/>
                <a:gd name="T27" fmla="*/ 92 h 165"/>
                <a:gd name="T28" fmla="*/ 1 w 175"/>
                <a:gd name="T29" fmla="*/ 63 h 165"/>
                <a:gd name="T30" fmla="*/ 4 w 175"/>
                <a:gd name="T31" fmla="*/ 33 h 165"/>
                <a:gd name="T32" fmla="*/ 11 w 175"/>
                <a:gd name="T33" fmla="*/ 21 h 165"/>
                <a:gd name="T34" fmla="*/ 21 w 175"/>
                <a:gd name="T35" fmla="*/ 11 h 165"/>
                <a:gd name="T36" fmla="*/ 40 w 175"/>
                <a:gd name="T37" fmla="*/ 3 h 165"/>
                <a:gd name="T38" fmla="*/ 85 w 175"/>
                <a:gd name="T39" fmla="*/ 14 h 165"/>
                <a:gd name="T40" fmla="*/ 165 w 175"/>
                <a:gd name="T41" fmla="*/ 73 h 165"/>
                <a:gd name="T42" fmla="*/ 154 w 175"/>
                <a:gd name="T43" fmla="*/ 16 h 165"/>
                <a:gd name="T44" fmla="*/ 103 w 175"/>
                <a:gd name="T45" fmla="*/ 9 h 165"/>
                <a:gd name="T46" fmla="*/ 98 w 175"/>
                <a:gd name="T47" fmla="*/ 12 h 165"/>
                <a:gd name="T48" fmla="*/ 79 w 175"/>
                <a:gd name="T49" fmla="*/ 30 h 165"/>
                <a:gd name="T50" fmla="*/ 78 w 175"/>
                <a:gd name="T51" fmla="*/ 70 h 165"/>
                <a:gd name="T52" fmla="*/ 87 w 175"/>
                <a:gd name="T53" fmla="*/ 83 h 165"/>
                <a:gd name="T54" fmla="*/ 123 w 175"/>
                <a:gd name="T55" fmla="*/ 99 h 165"/>
                <a:gd name="T56" fmla="*/ 163 w 175"/>
                <a:gd name="T57" fmla="*/ 82 h 165"/>
                <a:gd name="T58" fmla="*/ 150 w 175"/>
                <a:gd name="T59" fmla="*/ 94 h 165"/>
                <a:gd name="T60" fmla="*/ 96 w 175"/>
                <a:gd name="T61" fmla="*/ 94 h 165"/>
                <a:gd name="T62" fmla="*/ 79 w 175"/>
                <a:gd name="T63" fmla="*/ 79 h 165"/>
                <a:gd name="T64" fmla="*/ 73 w 175"/>
                <a:gd name="T65" fmla="*/ 67 h 165"/>
                <a:gd name="T66" fmla="*/ 72 w 175"/>
                <a:gd name="T67" fmla="*/ 43 h 165"/>
                <a:gd name="T68" fmla="*/ 78 w 175"/>
                <a:gd name="T69" fmla="*/ 23 h 165"/>
                <a:gd name="T70" fmla="*/ 109 w 175"/>
                <a:gd name="T71" fmla="*/ 4 h 165"/>
                <a:gd name="T72" fmla="*/ 129 w 175"/>
                <a:gd name="T73" fmla="*/ 2 h 165"/>
                <a:gd name="T74" fmla="*/ 147 w 175"/>
                <a:gd name="T75" fmla="*/ 8 h 165"/>
                <a:gd name="T76" fmla="*/ 158 w 175"/>
                <a:gd name="T77" fmla="*/ 16 h 165"/>
                <a:gd name="T78" fmla="*/ 174 w 175"/>
                <a:gd name="T79" fmla="*/ 46 h 165"/>
                <a:gd name="T80" fmla="*/ 164 w 175"/>
                <a:gd name="T81" fmla="*/ 81 h 165"/>
                <a:gd name="T82" fmla="*/ 135 w 175"/>
                <a:gd name="T83" fmla="*/ 111 h 165"/>
                <a:gd name="T84" fmla="*/ 86 w 175"/>
                <a:gd name="T85" fmla="*/ 66 h 165"/>
                <a:gd name="T86" fmla="*/ 66 w 175"/>
                <a:gd name="T87" fmla="*/ 72 h 165"/>
                <a:gd name="T88" fmla="*/ 56 w 175"/>
                <a:gd name="T89" fmla="*/ 77 h 165"/>
                <a:gd name="T90" fmla="*/ 40 w 175"/>
                <a:gd name="T91" fmla="*/ 123 h 165"/>
                <a:gd name="T92" fmla="*/ 43 w 175"/>
                <a:gd name="T93" fmla="*/ 136 h 165"/>
                <a:gd name="T94" fmla="*/ 65 w 175"/>
                <a:gd name="T95" fmla="*/ 154 h 165"/>
                <a:gd name="T96" fmla="*/ 121 w 175"/>
                <a:gd name="T97" fmla="*/ 145 h 165"/>
                <a:gd name="T98" fmla="*/ 120 w 175"/>
                <a:gd name="T99" fmla="*/ 151 h 165"/>
                <a:gd name="T100" fmla="*/ 71 w 175"/>
                <a:gd name="T101" fmla="*/ 162 h 165"/>
                <a:gd name="T102" fmla="*/ 48 w 175"/>
                <a:gd name="T103" fmla="*/ 146 h 165"/>
                <a:gd name="T104" fmla="*/ 38 w 175"/>
                <a:gd name="T105" fmla="*/ 130 h 165"/>
                <a:gd name="T106" fmla="*/ 35 w 175"/>
                <a:gd name="T107" fmla="*/ 119 h 165"/>
                <a:gd name="T108" fmla="*/ 39 w 175"/>
                <a:gd name="T109" fmla="*/ 95 h 165"/>
                <a:gd name="T110" fmla="*/ 66 w 175"/>
                <a:gd name="T111" fmla="*/ 69 h 165"/>
                <a:gd name="T112" fmla="*/ 92 w 175"/>
                <a:gd name="T113" fmla="*/ 64 h 165"/>
                <a:gd name="T114" fmla="*/ 107 w 175"/>
                <a:gd name="T115" fmla="*/ 68 h 165"/>
                <a:gd name="T116" fmla="*/ 119 w 175"/>
                <a:gd name="T117" fmla="*/ 76 h 165"/>
                <a:gd name="T118" fmla="*/ 135 w 175"/>
                <a:gd name="T119" fmla="*/ 99 h 165"/>
                <a:gd name="T120" fmla="*/ 132 w 175"/>
                <a:gd name="T121" fmla="*/ 138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5" h="165">
                  <a:moveTo>
                    <a:pt x="89" y="26"/>
                  </a:moveTo>
                  <a:cubicBezTo>
                    <a:pt x="89" y="26"/>
                    <a:pt x="89" y="26"/>
                    <a:pt x="89" y="26"/>
                  </a:cubicBezTo>
                  <a:cubicBezTo>
                    <a:pt x="89" y="25"/>
                    <a:pt x="89" y="25"/>
                    <a:pt x="89" y="25"/>
                  </a:cubicBezTo>
                  <a:cubicBezTo>
                    <a:pt x="88" y="24"/>
                    <a:pt x="88" y="22"/>
                    <a:pt x="86" y="21"/>
                  </a:cubicBezTo>
                  <a:cubicBezTo>
                    <a:pt x="86" y="21"/>
                    <a:pt x="85" y="20"/>
                    <a:pt x="85" y="20"/>
                  </a:cubicBezTo>
                  <a:cubicBezTo>
                    <a:pt x="85" y="19"/>
                    <a:pt x="85" y="19"/>
                    <a:pt x="84" y="19"/>
                  </a:cubicBezTo>
                  <a:cubicBezTo>
                    <a:pt x="84" y="18"/>
                    <a:pt x="84" y="18"/>
                    <a:pt x="83" y="17"/>
                  </a:cubicBezTo>
                  <a:cubicBezTo>
                    <a:pt x="83" y="17"/>
                    <a:pt x="83" y="17"/>
                    <a:pt x="82" y="17"/>
                  </a:cubicBezTo>
                  <a:cubicBezTo>
                    <a:pt x="80" y="14"/>
                    <a:pt x="78" y="13"/>
                    <a:pt x="76" y="11"/>
                  </a:cubicBezTo>
                  <a:cubicBezTo>
                    <a:pt x="75" y="10"/>
                    <a:pt x="74" y="10"/>
                    <a:pt x="73" y="9"/>
                  </a:cubicBezTo>
                  <a:cubicBezTo>
                    <a:pt x="69" y="8"/>
                    <a:pt x="66" y="6"/>
                    <a:pt x="62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58" y="4"/>
                    <a:pt x="54" y="5"/>
                    <a:pt x="50" y="5"/>
                  </a:cubicBezTo>
                  <a:cubicBezTo>
                    <a:pt x="50" y="5"/>
                    <a:pt x="50" y="5"/>
                    <a:pt x="49" y="5"/>
                  </a:cubicBezTo>
                  <a:cubicBezTo>
                    <a:pt x="47" y="5"/>
                    <a:pt x="45" y="6"/>
                    <a:pt x="42" y="6"/>
                  </a:cubicBezTo>
                  <a:cubicBezTo>
                    <a:pt x="40" y="6"/>
                    <a:pt x="38" y="6"/>
                    <a:pt x="37" y="7"/>
                  </a:cubicBezTo>
                  <a:cubicBezTo>
                    <a:pt x="34" y="8"/>
                    <a:pt x="30" y="8"/>
                    <a:pt x="27" y="10"/>
                  </a:cubicBezTo>
                  <a:cubicBezTo>
                    <a:pt x="24" y="11"/>
                    <a:pt x="22" y="13"/>
                    <a:pt x="20" y="15"/>
                  </a:cubicBezTo>
                  <a:cubicBezTo>
                    <a:pt x="19" y="16"/>
                    <a:pt x="19" y="16"/>
                    <a:pt x="18" y="17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3" y="23"/>
                    <a:pt x="10" y="28"/>
                    <a:pt x="6" y="33"/>
                  </a:cubicBezTo>
                  <a:cubicBezTo>
                    <a:pt x="6" y="34"/>
                    <a:pt x="6" y="35"/>
                    <a:pt x="5" y="36"/>
                  </a:cubicBezTo>
                  <a:cubicBezTo>
                    <a:pt x="5" y="37"/>
                    <a:pt x="5" y="37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9"/>
                    <a:pt x="4" y="39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3" y="41"/>
                    <a:pt x="3" y="43"/>
                    <a:pt x="3" y="43"/>
                  </a:cubicBezTo>
                  <a:cubicBezTo>
                    <a:pt x="3" y="47"/>
                    <a:pt x="2" y="52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4" y="56"/>
                    <a:pt x="4" y="57"/>
                    <a:pt x="3" y="57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4" y="57"/>
                    <a:pt x="3" y="58"/>
                    <a:pt x="4" y="58"/>
                  </a:cubicBezTo>
                  <a:cubicBezTo>
                    <a:pt x="4" y="58"/>
                    <a:pt x="3" y="58"/>
                    <a:pt x="3" y="58"/>
                  </a:cubicBezTo>
                  <a:cubicBezTo>
                    <a:pt x="3" y="59"/>
                    <a:pt x="4" y="59"/>
                    <a:pt x="4" y="59"/>
                  </a:cubicBezTo>
                  <a:cubicBezTo>
                    <a:pt x="4" y="59"/>
                    <a:pt x="4" y="59"/>
                    <a:pt x="3" y="59"/>
                  </a:cubicBezTo>
                  <a:cubicBezTo>
                    <a:pt x="4" y="59"/>
                    <a:pt x="3" y="59"/>
                    <a:pt x="3" y="59"/>
                  </a:cubicBezTo>
                  <a:cubicBezTo>
                    <a:pt x="3" y="59"/>
                    <a:pt x="4" y="59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4" y="61"/>
                    <a:pt x="4" y="60"/>
                    <a:pt x="4" y="61"/>
                  </a:cubicBezTo>
                  <a:cubicBezTo>
                    <a:pt x="4" y="61"/>
                    <a:pt x="5" y="62"/>
                    <a:pt x="4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4"/>
                    <a:pt x="5" y="65"/>
                    <a:pt x="5" y="66"/>
                  </a:cubicBezTo>
                  <a:cubicBezTo>
                    <a:pt x="5" y="66"/>
                    <a:pt x="5" y="66"/>
                    <a:pt x="5" y="67"/>
                  </a:cubicBezTo>
                  <a:cubicBezTo>
                    <a:pt x="6" y="67"/>
                    <a:pt x="6" y="69"/>
                    <a:pt x="6" y="70"/>
                  </a:cubicBezTo>
                  <a:cubicBezTo>
                    <a:pt x="6" y="71"/>
                    <a:pt x="7" y="72"/>
                    <a:pt x="7" y="73"/>
                  </a:cubicBezTo>
                  <a:cubicBezTo>
                    <a:pt x="8" y="75"/>
                    <a:pt x="9" y="77"/>
                    <a:pt x="10" y="79"/>
                  </a:cubicBezTo>
                  <a:cubicBezTo>
                    <a:pt x="10" y="79"/>
                    <a:pt x="10" y="79"/>
                    <a:pt x="10" y="79"/>
                  </a:cubicBezTo>
                  <a:cubicBezTo>
                    <a:pt x="10" y="80"/>
                    <a:pt x="11" y="80"/>
                    <a:pt x="11" y="81"/>
                  </a:cubicBezTo>
                  <a:cubicBezTo>
                    <a:pt x="12" y="82"/>
                    <a:pt x="13" y="84"/>
                    <a:pt x="14" y="85"/>
                  </a:cubicBezTo>
                  <a:cubicBezTo>
                    <a:pt x="15" y="86"/>
                    <a:pt x="17" y="87"/>
                    <a:pt x="17" y="88"/>
                  </a:cubicBezTo>
                  <a:cubicBezTo>
                    <a:pt x="20" y="89"/>
                    <a:pt x="21" y="91"/>
                    <a:pt x="24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6" y="92"/>
                    <a:pt x="27" y="93"/>
                    <a:pt x="28" y="94"/>
                  </a:cubicBezTo>
                  <a:cubicBezTo>
                    <a:pt x="31" y="96"/>
                    <a:pt x="35" y="97"/>
                    <a:pt x="39" y="97"/>
                  </a:cubicBezTo>
                  <a:cubicBezTo>
                    <a:pt x="40" y="97"/>
                    <a:pt x="42" y="98"/>
                    <a:pt x="43" y="98"/>
                  </a:cubicBezTo>
                  <a:cubicBezTo>
                    <a:pt x="44" y="98"/>
                    <a:pt x="45" y="98"/>
                    <a:pt x="46" y="99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7" y="99"/>
                    <a:pt x="49" y="99"/>
                    <a:pt x="50" y="99"/>
                  </a:cubicBezTo>
                  <a:cubicBezTo>
                    <a:pt x="50" y="99"/>
                    <a:pt x="51" y="99"/>
                    <a:pt x="52" y="100"/>
                  </a:cubicBezTo>
                  <a:cubicBezTo>
                    <a:pt x="53" y="99"/>
                    <a:pt x="54" y="100"/>
                    <a:pt x="54" y="100"/>
                  </a:cubicBezTo>
                  <a:cubicBezTo>
                    <a:pt x="55" y="99"/>
                    <a:pt x="55" y="100"/>
                    <a:pt x="56" y="100"/>
                  </a:cubicBezTo>
                  <a:cubicBezTo>
                    <a:pt x="56" y="100"/>
                    <a:pt x="56" y="100"/>
                    <a:pt x="56" y="100"/>
                  </a:cubicBezTo>
                  <a:cubicBezTo>
                    <a:pt x="56" y="100"/>
                    <a:pt x="56" y="99"/>
                    <a:pt x="56" y="100"/>
                  </a:cubicBezTo>
                  <a:cubicBezTo>
                    <a:pt x="57" y="100"/>
                    <a:pt x="57" y="99"/>
                    <a:pt x="58" y="100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9" y="99"/>
                    <a:pt x="58" y="99"/>
                    <a:pt x="58" y="99"/>
                  </a:cubicBezTo>
                  <a:cubicBezTo>
                    <a:pt x="59" y="99"/>
                    <a:pt x="60" y="99"/>
                    <a:pt x="61" y="98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61" y="99"/>
                    <a:pt x="61" y="98"/>
                    <a:pt x="61" y="98"/>
                  </a:cubicBezTo>
                  <a:cubicBezTo>
                    <a:pt x="62" y="98"/>
                    <a:pt x="63" y="98"/>
                    <a:pt x="64" y="98"/>
                  </a:cubicBezTo>
                  <a:cubicBezTo>
                    <a:pt x="64" y="97"/>
                    <a:pt x="66" y="97"/>
                    <a:pt x="66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8" y="96"/>
                  </a:cubicBezTo>
                  <a:cubicBezTo>
                    <a:pt x="69" y="95"/>
                    <a:pt x="69" y="95"/>
                    <a:pt x="70" y="94"/>
                  </a:cubicBezTo>
                  <a:cubicBezTo>
                    <a:pt x="70" y="94"/>
                    <a:pt x="70" y="94"/>
                    <a:pt x="71" y="94"/>
                  </a:cubicBezTo>
                  <a:cubicBezTo>
                    <a:pt x="73" y="93"/>
                    <a:pt x="74" y="91"/>
                    <a:pt x="76" y="90"/>
                  </a:cubicBezTo>
                  <a:cubicBezTo>
                    <a:pt x="78" y="89"/>
                    <a:pt x="79" y="87"/>
                    <a:pt x="81" y="86"/>
                  </a:cubicBezTo>
                  <a:cubicBezTo>
                    <a:pt x="81" y="85"/>
                    <a:pt x="82" y="85"/>
                    <a:pt x="82" y="85"/>
                  </a:cubicBezTo>
                  <a:cubicBezTo>
                    <a:pt x="83" y="84"/>
                    <a:pt x="83" y="84"/>
                    <a:pt x="84" y="84"/>
                  </a:cubicBezTo>
                  <a:cubicBezTo>
                    <a:pt x="86" y="82"/>
                    <a:pt x="88" y="81"/>
                    <a:pt x="89" y="78"/>
                  </a:cubicBezTo>
                  <a:cubicBezTo>
                    <a:pt x="90" y="77"/>
                    <a:pt x="91" y="75"/>
                    <a:pt x="92" y="73"/>
                  </a:cubicBezTo>
                  <a:cubicBezTo>
                    <a:pt x="92" y="73"/>
                    <a:pt x="92" y="73"/>
                    <a:pt x="92" y="73"/>
                  </a:cubicBezTo>
                  <a:cubicBezTo>
                    <a:pt x="93" y="71"/>
                    <a:pt x="94" y="69"/>
                    <a:pt x="95" y="68"/>
                  </a:cubicBezTo>
                  <a:cubicBezTo>
                    <a:pt x="95" y="68"/>
                    <a:pt x="95" y="68"/>
                    <a:pt x="95" y="67"/>
                  </a:cubicBezTo>
                  <a:cubicBezTo>
                    <a:pt x="95" y="67"/>
                    <a:pt x="95" y="66"/>
                    <a:pt x="96" y="65"/>
                  </a:cubicBezTo>
                  <a:cubicBezTo>
                    <a:pt x="97" y="61"/>
                    <a:pt x="97" y="55"/>
                    <a:pt x="97" y="49"/>
                  </a:cubicBezTo>
                  <a:cubicBezTo>
                    <a:pt x="97" y="48"/>
                    <a:pt x="97" y="46"/>
                    <a:pt x="97" y="45"/>
                  </a:cubicBezTo>
                  <a:cubicBezTo>
                    <a:pt x="97" y="44"/>
                    <a:pt x="96" y="43"/>
                    <a:pt x="96" y="42"/>
                  </a:cubicBezTo>
                  <a:cubicBezTo>
                    <a:pt x="95" y="41"/>
                    <a:pt x="95" y="39"/>
                    <a:pt x="95" y="38"/>
                  </a:cubicBezTo>
                  <a:cubicBezTo>
                    <a:pt x="93" y="35"/>
                    <a:pt x="92" y="31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7"/>
                    <a:pt x="90" y="27"/>
                    <a:pt x="89" y="26"/>
                  </a:cubicBezTo>
                  <a:moveTo>
                    <a:pt x="69" y="4"/>
                  </a:moveTo>
                  <a:cubicBezTo>
                    <a:pt x="69" y="4"/>
                    <a:pt x="69" y="4"/>
                    <a:pt x="69" y="4"/>
                  </a:cubicBezTo>
                  <a:moveTo>
                    <a:pt x="92" y="24"/>
                  </a:moveTo>
                  <a:cubicBezTo>
                    <a:pt x="92" y="24"/>
                    <a:pt x="93" y="24"/>
                    <a:pt x="93" y="24"/>
                  </a:cubicBezTo>
                  <a:cubicBezTo>
                    <a:pt x="93" y="24"/>
                    <a:pt x="93" y="24"/>
                    <a:pt x="93" y="24"/>
                  </a:cubicBezTo>
                  <a:cubicBezTo>
                    <a:pt x="93" y="24"/>
                    <a:pt x="93" y="25"/>
                    <a:pt x="93" y="25"/>
                  </a:cubicBezTo>
                  <a:cubicBezTo>
                    <a:pt x="93" y="26"/>
                    <a:pt x="93" y="25"/>
                    <a:pt x="93" y="25"/>
                  </a:cubicBezTo>
                  <a:cubicBezTo>
                    <a:pt x="94" y="26"/>
                    <a:pt x="95" y="28"/>
                    <a:pt x="95" y="29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95" y="29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6" y="30"/>
                    <a:pt x="95" y="30"/>
                    <a:pt x="95" y="31"/>
                  </a:cubicBezTo>
                  <a:cubicBezTo>
                    <a:pt x="96" y="31"/>
                    <a:pt x="95" y="30"/>
                    <a:pt x="96" y="30"/>
                  </a:cubicBezTo>
                  <a:cubicBezTo>
                    <a:pt x="96" y="32"/>
                    <a:pt x="97" y="34"/>
                    <a:pt x="98" y="36"/>
                  </a:cubicBezTo>
                  <a:cubicBezTo>
                    <a:pt x="98" y="37"/>
                    <a:pt x="98" y="38"/>
                    <a:pt x="98" y="39"/>
                  </a:cubicBezTo>
                  <a:cubicBezTo>
                    <a:pt x="99" y="39"/>
                    <a:pt x="99" y="40"/>
                    <a:pt x="100" y="41"/>
                  </a:cubicBezTo>
                  <a:cubicBezTo>
                    <a:pt x="99" y="41"/>
                    <a:pt x="100" y="41"/>
                    <a:pt x="100" y="42"/>
                  </a:cubicBezTo>
                  <a:cubicBezTo>
                    <a:pt x="101" y="45"/>
                    <a:pt x="101" y="49"/>
                    <a:pt x="101" y="53"/>
                  </a:cubicBezTo>
                  <a:cubicBezTo>
                    <a:pt x="101" y="53"/>
                    <a:pt x="101" y="53"/>
                    <a:pt x="101" y="54"/>
                  </a:cubicBezTo>
                  <a:cubicBezTo>
                    <a:pt x="100" y="60"/>
                    <a:pt x="99" y="66"/>
                    <a:pt x="97" y="71"/>
                  </a:cubicBezTo>
                  <a:cubicBezTo>
                    <a:pt x="97" y="71"/>
                    <a:pt x="96" y="71"/>
                    <a:pt x="96" y="72"/>
                  </a:cubicBezTo>
                  <a:cubicBezTo>
                    <a:pt x="95" y="73"/>
                    <a:pt x="95" y="75"/>
                    <a:pt x="94" y="77"/>
                  </a:cubicBezTo>
                  <a:cubicBezTo>
                    <a:pt x="93" y="78"/>
                    <a:pt x="92" y="79"/>
                    <a:pt x="91" y="81"/>
                  </a:cubicBezTo>
                  <a:cubicBezTo>
                    <a:pt x="91" y="81"/>
                    <a:pt x="91" y="81"/>
                    <a:pt x="91" y="81"/>
                  </a:cubicBezTo>
                  <a:cubicBezTo>
                    <a:pt x="91" y="81"/>
                    <a:pt x="91" y="81"/>
                    <a:pt x="91" y="81"/>
                  </a:cubicBezTo>
                  <a:cubicBezTo>
                    <a:pt x="90" y="83"/>
                    <a:pt x="89" y="84"/>
                    <a:pt x="88" y="85"/>
                  </a:cubicBezTo>
                  <a:cubicBezTo>
                    <a:pt x="87" y="85"/>
                    <a:pt x="87" y="85"/>
                    <a:pt x="87" y="85"/>
                  </a:cubicBezTo>
                  <a:cubicBezTo>
                    <a:pt x="87" y="85"/>
                    <a:pt x="87" y="86"/>
                    <a:pt x="87" y="86"/>
                  </a:cubicBezTo>
                  <a:cubicBezTo>
                    <a:pt x="84" y="87"/>
                    <a:pt x="83" y="90"/>
                    <a:pt x="80" y="91"/>
                  </a:cubicBezTo>
                  <a:cubicBezTo>
                    <a:pt x="79" y="92"/>
                    <a:pt x="77" y="93"/>
                    <a:pt x="76" y="95"/>
                  </a:cubicBezTo>
                  <a:cubicBezTo>
                    <a:pt x="75" y="94"/>
                    <a:pt x="76" y="95"/>
                    <a:pt x="75" y="95"/>
                  </a:cubicBezTo>
                  <a:cubicBezTo>
                    <a:pt x="75" y="95"/>
                    <a:pt x="75" y="95"/>
                    <a:pt x="75" y="95"/>
                  </a:cubicBezTo>
                  <a:cubicBezTo>
                    <a:pt x="73" y="96"/>
                    <a:pt x="72" y="97"/>
                    <a:pt x="70" y="99"/>
                  </a:cubicBezTo>
                  <a:cubicBezTo>
                    <a:pt x="70" y="98"/>
                    <a:pt x="70" y="98"/>
                    <a:pt x="70" y="98"/>
                  </a:cubicBezTo>
                  <a:cubicBezTo>
                    <a:pt x="70" y="98"/>
                    <a:pt x="70" y="99"/>
                    <a:pt x="69" y="98"/>
                  </a:cubicBezTo>
                  <a:cubicBezTo>
                    <a:pt x="69" y="99"/>
                    <a:pt x="70" y="99"/>
                    <a:pt x="70" y="99"/>
                  </a:cubicBezTo>
                  <a:cubicBezTo>
                    <a:pt x="69" y="99"/>
                    <a:pt x="69" y="99"/>
                    <a:pt x="68" y="99"/>
                  </a:cubicBezTo>
                  <a:cubicBezTo>
                    <a:pt x="68" y="99"/>
                    <a:pt x="68" y="99"/>
                    <a:pt x="68" y="99"/>
                  </a:cubicBezTo>
                  <a:cubicBezTo>
                    <a:pt x="68" y="99"/>
                    <a:pt x="68" y="99"/>
                    <a:pt x="68" y="99"/>
                  </a:cubicBezTo>
                  <a:cubicBezTo>
                    <a:pt x="66" y="101"/>
                    <a:pt x="63" y="101"/>
                    <a:pt x="61" y="102"/>
                  </a:cubicBezTo>
                  <a:cubicBezTo>
                    <a:pt x="61" y="102"/>
                    <a:pt x="60" y="102"/>
                    <a:pt x="60" y="102"/>
                  </a:cubicBezTo>
                  <a:cubicBezTo>
                    <a:pt x="60" y="102"/>
                    <a:pt x="59" y="102"/>
                    <a:pt x="59" y="102"/>
                  </a:cubicBezTo>
                  <a:cubicBezTo>
                    <a:pt x="58" y="102"/>
                    <a:pt x="58" y="103"/>
                    <a:pt x="58" y="102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58" y="102"/>
                    <a:pt x="57" y="103"/>
                    <a:pt x="57" y="103"/>
                  </a:cubicBezTo>
                  <a:cubicBezTo>
                    <a:pt x="57" y="103"/>
                    <a:pt x="57" y="103"/>
                    <a:pt x="57" y="103"/>
                  </a:cubicBezTo>
                  <a:cubicBezTo>
                    <a:pt x="55" y="103"/>
                    <a:pt x="53" y="103"/>
                    <a:pt x="51" y="103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0" y="103"/>
                    <a:pt x="50" y="103"/>
                    <a:pt x="49" y="103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4"/>
                    <a:pt x="48" y="103"/>
                    <a:pt x="47" y="104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4"/>
                    <a:pt x="46" y="104"/>
                  </a:cubicBezTo>
                  <a:cubicBezTo>
                    <a:pt x="45" y="103"/>
                    <a:pt x="44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1" y="102"/>
                    <a:pt x="41" y="102"/>
                    <a:pt x="41" y="102"/>
                  </a:cubicBezTo>
                  <a:cubicBezTo>
                    <a:pt x="41" y="102"/>
                    <a:pt x="41" y="102"/>
                    <a:pt x="40" y="102"/>
                  </a:cubicBezTo>
                  <a:cubicBezTo>
                    <a:pt x="38" y="102"/>
                    <a:pt x="36" y="101"/>
                    <a:pt x="34" y="101"/>
                  </a:cubicBezTo>
                  <a:cubicBezTo>
                    <a:pt x="33" y="100"/>
                    <a:pt x="32" y="100"/>
                    <a:pt x="31" y="99"/>
                  </a:cubicBezTo>
                  <a:cubicBezTo>
                    <a:pt x="30" y="99"/>
                    <a:pt x="29" y="98"/>
                    <a:pt x="28" y="98"/>
                  </a:cubicBezTo>
                  <a:cubicBezTo>
                    <a:pt x="28" y="98"/>
                    <a:pt x="28" y="98"/>
                    <a:pt x="28" y="98"/>
                  </a:cubicBezTo>
                  <a:cubicBezTo>
                    <a:pt x="27" y="97"/>
                    <a:pt x="26" y="96"/>
                    <a:pt x="24" y="96"/>
                  </a:cubicBezTo>
                  <a:cubicBezTo>
                    <a:pt x="24" y="95"/>
                    <a:pt x="23" y="95"/>
                    <a:pt x="23" y="95"/>
                  </a:cubicBezTo>
                  <a:cubicBezTo>
                    <a:pt x="23" y="95"/>
                    <a:pt x="23" y="95"/>
                    <a:pt x="23" y="95"/>
                  </a:cubicBezTo>
                  <a:cubicBezTo>
                    <a:pt x="21" y="94"/>
                    <a:pt x="20" y="93"/>
                    <a:pt x="19" y="93"/>
                  </a:cubicBezTo>
                  <a:cubicBezTo>
                    <a:pt x="19" y="92"/>
                    <a:pt x="19" y="92"/>
                    <a:pt x="19" y="92"/>
                  </a:cubicBezTo>
                  <a:cubicBezTo>
                    <a:pt x="19" y="92"/>
                    <a:pt x="19" y="92"/>
                    <a:pt x="19" y="92"/>
                  </a:cubicBezTo>
                  <a:cubicBezTo>
                    <a:pt x="19" y="92"/>
                    <a:pt x="19" y="92"/>
                    <a:pt x="18" y="92"/>
                  </a:cubicBezTo>
                  <a:cubicBezTo>
                    <a:pt x="18" y="92"/>
                    <a:pt x="18" y="92"/>
                    <a:pt x="18" y="91"/>
                  </a:cubicBezTo>
                  <a:cubicBezTo>
                    <a:pt x="16" y="90"/>
                    <a:pt x="15" y="89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2" y="87"/>
                    <a:pt x="11" y="86"/>
                    <a:pt x="10" y="86"/>
                  </a:cubicBezTo>
                  <a:cubicBezTo>
                    <a:pt x="10" y="86"/>
                    <a:pt x="10" y="85"/>
                    <a:pt x="10" y="85"/>
                  </a:cubicBezTo>
                  <a:cubicBezTo>
                    <a:pt x="9" y="85"/>
                    <a:pt x="9" y="84"/>
                    <a:pt x="8" y="83"/>
                  </a:cubicBezTo>
                  <a:cubicBezTo>
                    <a:pt x="7" y="81"/>
                    <a:pt x="6" y="79"/>
                    <a:pt x="5" y="78"/>
                  </a:cubicBezTo>
                  <a:cubicBezTo>
                    <a:pt x="5" y="76"/>
                    <a:pt x="4" y="75"/>
                    <a:pt x="3" y="73"/>
                  </a:cubicBezTo>
                  <a:cubicBezTo>
                    <a:pt x="3" y="71"/>
                    <a:pt x="2" y="67"/>
                    <a:pt x="1" y="65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1"/>
                    <a:pt x="1" y="60"/>
                    <a:pt x="1" y="59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7"/>
                    <a:pt x="1" y="55"/>
                    <a:pt x="0" y="54"/>
                  </a:cubicBezTo>
                  <a:cubicBezTo>
                    <a:pt x="0" y="54"/>
                    <a:pt x="0" y="54"/>
                    <a:pt x="1" y="54"/>
                  </a:cubicBezTo>
                  <a:cubicBezTo>
                    <a:pt x="0" y="54"/>
                    <a:pt x="0" y="53"/>
                    <a:pt x="0" y="53"/>
                  </a:cubicBezTo>
                  <a:cubicBezTo>
                    <a:pt x="0" y="52"/>
                    <a:pt x="0" y="49"/>
                    <a:pt x="0" y="47"/>
                  </a:cubicBezTo>
                  <a:cubicBezTo>
                    <a:pt x="0" y="45"/>
                    <a:pt x="1" y="42"/>
                    <a:pt x="1" y="40"/>
                  </a:cubicBezTo>
                  <a:cubicBezTo>
                    <a:pt x="2" y="38"/>
                    <a:pt x="2" y="37"/>
                    <a:pt x="3" y="36"/>
                  </a:cubicBezTo>
                  <a:cubicBezTo>
                    <a:pt x="3" y="35"/>
                    <a:pt x="3" y="34"/>
                    <a:pt x="3" y="34"/>
                  </a:cubicBezTo>
                  <a:cubicBezTo>
                    <a:pt x="3" y="33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4" y="32"/>
                    <a:pt x="4" y="33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2"/>
                    <a:pt x="4" y="32"/>
                    <a:pt x="4" y="31"/>
                  </a:cubicBezTo>
                  <a:cubicBezTo>
                    <a:pt x="5" y="30"/>
                    <a:pt x="5" y="29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6" y="27"/>
                    <a:pt x="7" y="27"/>
                    <a:pt x="7" y="27"/>
                  </a:cubicBezTo>
                  <a:cubicBezTo>
                    <a:pt x="8" y="25"/>
                    <a:pt x="9" y="23"/>
                    <a:pt x="10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2" y="20"/>
                    <a:pt x="12" y="19"/>
                  </a:cubicBezTo>
                  <a:cubicBezTo>
                    <a:pt x="12" y="19"/>
                    <a:pt x="13" y="18"/>
                    <a:pt x="13" y="18"/>
                  </a:cubicBezTo>
                  <a:cubicBezTo>
                    <a:pt x="14" y="17"/>
                    <a:pt x="15" y="15"/>
                    <a:pt x="16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3"/>
                    <a:pt x="18" y="13"/>
                  </a:cubicBezTo>
                  <a:cubicBezTo>
                    <a:pt x="17" y="13"/>
                    <a:pt x="18" y="13"/>
                    <a:pt x="18" y="13"/>
                  </a:cubicBezTo>
                  <a:cubicBezTo>
                    <a:pt x="18" y="13"/>
                    <a:pt x="18" y="13"/>
                    <a:pt x="19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9" y="13"/>
                    <a:pt x="19" y="12"/>
                    <a:pt x="19" y="12"/>
                  </a:cubicBezTo>
                  <a:cubicBezTo>
                    <a:pt x="20" y="12"/>
                    <a:pt x="20" y="11"/>
                    <a:pt x="21" y="11"/>
                  </a:cubicBezTo>
                  <a:cubicBezTo>
                    <a:pt x="22" y="10"/>
                    <a:pt x="22" y="10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4" y="9"/>
                    <a:pt x="24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6" y="7"/>
                    <a:pt x="28" y="6"/>
                    <a:pt x="30" y="6"/>
                  </a:cubicBezTo>
                  <a:cubicBezTo>
                    <a:pt x="30" y="6"/>
                    <a:pt x="31" y="6"/>
                    <a:pt x="31" y="5"/>
                  </a:cubicBezTo>
                  <a:cubicBezTo>
                    <a:pt x="31" y="5"/>
                    <a:pt x="31" y="5"/>
                    <a:pt x="32" y="5"/>
                  </a:cubicBezTo>
                  <a:cubicBezTo>
                    <a:pt x="32" y="5"/>
                    <a:pt x="33" y="5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6" y="4"/>
                    <a:pt x="38" y="3"/>
                    <a:pt x="40" y="3"/>
                  </a:cubicBezTo>
                  <a:cubicBezTo>
                    <a:pt x="43" y="2"/>
                    <a:pt x="46" y="1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1"/>
                    <a:pt x="51" y="1"/>
                    <a:pt x="52" y="1"/>
                  </a:cubicBezTo>
                  <a:cubicBezTo>
                    <a:pt x="53" y="0"/>
                    <a:pt x="56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9" y="1"/>
                    <a:pt x="59" y="1"/>
                  </a:cubicBezTo>
                  <a:cubicBezTo>
                    <a:pt x="61" y="1"/>
                    <a:pt x="62" y="2"/>
                    <a:pt x="63" y="2"/>
                  </a:cubicBezTo>
                  <a:cubicBezTo>
                    <a:pt x="65" y="2"/>
                    <a:pt x="67" y="3"/>
                    <a:pt x="69" y="3"/>
                  </a:cubicBezTo>
                  <a:cubicBezTo>
                    <a:pt x="69" y="4"/>
                    <a:pt x="70" y="3"/>
                    <a:pt x="70" y="4"/>
                  </a:cubicBezTo>
                  <a:cubicBezTo>
                    <a:pt x="73" y="5"/>
                    <a:pt x="76" y="7"/>
                    <a:pt x="78" y="8"/>
                  </a:cubicBezTo>
                  <a:cubicBezTo>
                    <a:pt x="80" y="9"/>
                    <a:pt x="81" y="10"/>
                    <a:pt x="82" y="11"/>
                  </a:cubicBezTo>
                  <a:cubicBezTo>
                    <a:pt x="83" y="12"/>
                    <a:pt x="84" y="13"/>
                    <a:pt x="85" y="14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6" y="15"/>
                    <a:pt x="86" y="15"/>
                    <a:pt x="87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8" y="17"/>
                    <a:pt x="89" y="18"/>
                    <a:pt x="90" y="19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1" y="21"/>
                    <a:pt x="92" y="22"/>
                    <a:pt x="92" y="24"/>
                  </a:cubicBezTo>
                  <a:moveTo>
                    <a:pt x="161" y="79"/>
                  </a:moveTo>
                  <a:cubicBezTo>
                    <a:pt x="161" y="79"/>
                    <a:pt x="161" y="79"/>
                    <a:pt x="161" y="79"/>
                  </a:cubicBezTo>
                  <a:cubicBezTo>
                    <a:pt x="161" y="79"/>
                    <a:pt x="161" y="79"/>
                    <a:pt x="161" y="79"/>
                  </a:cubicBezTo>
                  <a:cubicBezTo>
                    <a:pt x="162" y="77"/>
                    <a:pt x="164" y="76"/>
                    <a:pt x="164" y="74"/>
                  </a:cubicBezTo>
                  <a:cubicBezTo>
                    <a:pt x="164" y="74"/>
                    <a:pt x="164" y="74"/>
                    <a:pt x="165" y="73"/>
                  </a:cubicBezTo>
                  <a:cubicBezTo>
                    <a:pt x="165" y="73"/>
                    <a:pt x="165" y="72"/>
                    <a:pt x="166" y="72"/>
                  </a:cubicBezTo>
                  <a:cubicBezTo>
                    <a:pt x="166" y="71"/>
                    <a:pt x="166" y="71"/>
                    <a:pt x="166" y="70"/>
                  </a:cubicBezTo>
                  <a:cubicBezTo>
                    <a:pt x="167" y="70"/>
                    <a:pt x="167" y="70"/>
                    <a:pt x="167" y="69"/>
                  </a:cubicBezTo>
                  <a:cubicBezTo>
                    <a:pt x="168" y="67"/>
                    <a:pt x="169" y="64"/>
                    <a:pt x="170" y="61"/>
                  </a:cubicBezTo>
                  <a:cubicBezTo>
                    <a:pt x="170" y="60"/>
                    <a:pt x="170" y="59"/>
                    <a:pt x="170" y="58"/>
                  </a:cubicBezTo>
                  <a:cubicBezTo>
                    <a:pt x="171" y="54"/>
                    <a:pt x="171" y="50"/>
                    <a:pt x="171" y="46"/>
                  </a:cubicBezTo>
                  <a:cubicBezTo>
                    <a:pt x="171" y="46"/>
                    <a:pt x="171" y="46"/>
                    <a:pt x="171" y="46"/>
                  </a:cubicBezTo>
                  <a:cubicBezTo>
                    <a:pt x="169" y="42"/>
                    <a:pt x="168" y="38"/>
                    <a:pt x="166" y="35"/>
                  </a:cubicBezTo>
                  <a:cubicBezTo>
                    <a:pt x="166" y="35"/>
                    <a:pt x="166" y="35"/>
                    <a:pt x="166" y="34"/>
                  </a:cubicBezTo>
                  <a:cubicBezTo>
                    <a:pt x="165" y="32"/>
                    <a:pt x="164" y="30"/>
                    <a:pt x="163" y="28"/>
                  </a:cubicBezTo>
                  <a:cubicBezTo>
                    <a:pt x="162" y="26"/>
                    <a:pt x="161" y="24"/>
                    <a:pt x="160" y="23"/>
                  </a:cubicBezTo>
                  <a:cubicBezTo>
                    <a:pt x="158" y="20"/>
                    <a:pt x="156" y="18"/>
                    <a:pt x="154" y="16"/>
                  </a:cubicBezTo>
                  <a:cubicBezTo>
                    <a:pt x="151" y="13"/>
                    <a:pt x="149" y="12"/>
                    <a:pt x="146" y="10"/>
                  </a:cubicBezTo>
                  <a:cubicBezTo>
                    <a:pt x="145" y="10"/>
                    <a:pt x="144" y="10"/>
                    <a:pt x="143" y="10"/>
                  </a:cubicBezTo>
                  <a:cubicBezTo>
                    <a:pt x="143" y="9"/>
                    <a:pt x="143" y="9"/>
                    <a:pt x="143" y="9"/>
                  </a:cubicBezTo>
                  <a:cubicBezTo>
                    <a:pt x="137" y="7"/>
                    <a:pt x="130" y="6"/>
                    <a:pt x="124" y="4"/>
                  </a:cubicBezTo>
                  <a:cubicBezTo>
                    <a:pt x="123" y="4"/>
                    <a:pt x="122" y="4"/>
                    <a:pt x="121" y="4"/>
                  </a:cubicBezTo>
                  <a:cubicBezTo>
                    <a:pt x="121" y="4"/>
                    <a:pt x="120" y="4"/>
                    <a:pt x="119" y="4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8" y="4"/>
                    <a:pt x="118" y="4"/>
                    <a:pt x="117" y="4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6" y="4"/>
                    <a:pt x="114" y="5"/>
                    <a:pt x="113" y="5"/>
                  </a:cubicBezTo>
                  <a:cubicBezTo>
                    <a:pt x="110" y="6"/>
                    <a:pt x="105" y="7"/>
                    <a:pt x="103" y="9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10"/>
                    <a:pt x="101" y="10"/>
                    <a:pt x="101" y="10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1" y="10"/>
                    <a:pt x="101" y="10"/>
                    <a:pt x="101" y="10"/>
                  </a:cubicBezTo>
                  <a:cubicBezTo>
                    <a:pt x="101" y="10"/>
                    <a:pt x="100" y="10"/>
                    <a:pt x="100" y="10"/>
                  </a:cubicBezTo>
                  <a:cubicBezTo>
                    <a:pt x="100" y="11"/>
                    <a:pt x="100" y="10"/>
                    <a:pt x="100" y="10"/>
                  </a:cubicBezTo>
                  <a:cubicBezTo>
                    <a:pt x="100" y="10"/>
                    <a:pt x="100" y="11"/>
                    <a:pt x="99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9" y="11"/>
                    <a:pt x="98" y="11"/>
                    <a:pt x="98" y="11"/>
                  </a:cubicBezTo>
                  <a:cubicBezTo>
                    <a:pt x="98" y="11"/>
                    <a:pt x="98" y="12"/>
                    <a:pt x="98" y="12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8" y="12"/>
                    <a:pt x="98" y="12"/>
                    <a:pt x="98" y="12"/>
                  </a:cubicBezTo>
                  <a:cubicBezTo>
                    <a:pt x="98" y="12"/>
                    <a:pt x="97" y="13"/>
                    <a:pt x="96" y="12"/>
                  </a:cubicBezTo>
                  <a:cubicBezTo>
                    <a:pt x="97" y="13"/>
                    <a:pt x="97" y="13"/>
                    <a:pt x="97" y="13"/>
                  </a:cubicBezTo>
                  <a:cubicBezTo>
                    <a:pt x="95" y="13"/>
                    <a:pt x="94" y="14"/>
                    <a:pt x="93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2" y="16"/>
                    <a:pt x="91" y="16"/>
                    <a:pt x="90" y="17"/>
                  </a:cubicBezTo>
                  <a:cubicBezTo>
                    <a:pt x="89" y="18"/>
                    <a:pt x="88" y="18"/>
                    <a:pt x="87" y="19"/>
                  </a:cubicBezTo>
                  <a:cubicBezTo>
                    <a:pt x="86" y="21"/>
                    <a:pt x="84" y="22"/>
                    <a:pt x="83" y="24"/>
                  </a:cubicBezTo>
                  <a:cubicBezTo>
                    <a:pt x="83" y="24"/>
                    <a:pt x="82" y="24"/>
                    <a:pt x="82" y="24"/>
                  </a:cubicBezTo>
                  <a:cubicBezTo>
                    <a:pt x="82" y="24"/>
                    <a:pt x="82" y="25"/>
                    <a:pt x="81" y="25"/>
                  </a:cubicBezTo>
                  <a:cubicBezTo>
                    <a:pt x="80" y="27"/>
                    <a:pt x="79" y="28"/>
                    <a:pt x="79" y="30"/>
                  </a:cubicBezTo>
                  <a:cubicBezTo>
                    <a:pt x="78" y="31"/>
                    <a:pt x="78" y="33"/>
                    <a:pt x="77" y="34"/>
                  </a:cubicBezTo>
                  <a:cubicBezTo>
                    <a:pt x="77" y="37"/>
                    <a:pt x="76" y="39"/>
                    <a:pt x="76" y="41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3"/>
                    <a:pt x="75" y="45"/>
                    <a:pt x="75" y="46"/>
                  </a:cubicBezTo>
                  <a:cubicBezTo>
                    <a:pt x="75" y="50"/>
                    <a:pt x="75" y="53"/>
                    <a:pt x="76" y="57"/>
                  </a:cubicBezTo>
                  <a:cubicBezTo>
                    <a:pt x="76" y="59"/>
                    <a:pt x="76" y="60"/>
                    <a:pt x="77" y="62"/>
                  </a:cubicBezTo>
                  <a:cubicBezTo>
                    <a:pt x="77" y="62"/>
                    <a:pt x="77" y="63"/>
                    <a:pt x="77" y="64"/>
                  </a:cubicBezTo>
                  <a:cubicBezTo>
                    <a:pt x="77" y="64"/>
                    <a:pt x="77" y="65"/>
                    <a:pt x="77" y="65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8" y="66"/>
                    <a:pt x="77" y="67"/>
                    <a:pt x="78" y="68"/>
                  </a:cubicBezTo>
                  <a:cubicBezTo>
                    <a:pt x="78" y="69"/>
                    <a:pt x="79" y="70"/>
                    <a:pt x="78" y="70"/>
                  </a:cubicBezTo>
                  <a:cubicBezTo>
                    <a:pt x="79" y="71"/>
                    <a:pt x="79" y="72"/>
                    <a:pt x="79" y="73"/>
                  </a:cubicBezTo>
                  <a:cubicBezTo>
                    <a:pt x="80" y="73"/>
                    <a:pt x="80" y="74"/>
                    <a:pt x="80" y="74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80" y="75"/>
                    <a:pt x="80" y="74"/>
                    <a:pt x="80" y="75"/>
                  </a:cubicBezTo>
                  <a:cubicBezTo>
                    <a:pt x="80" y="75"/>
                    <a:pt x="81" y="75"/>
                    <a:pt x="81" y="76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1" y="77"/>
                    <a:pt x="82" y="78"/>
                    <a:pt x="83" y="78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3" y="79"/>
                    <a:pt x="84" y="80"/>
                    <a:pt x="84" y="81"/>
                  </a:cubicBezTo>
                  <a:cubicBezTo>
                    <a:pt x="85" y="81"/>
                    <a:pt x="86" y="82"/>
                    <a:pt x="87" y="83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7" y="84"/>
                    <a:pt x="88" y="84"/>
                  </a:cubicBezTo>
                  <a:cubicBezTo>
                    <a:pt x="88" y="84"/>
                    <a:pt x="89" y="85"/>
                    <a:pt x="90" y="86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2" y="87"/>
                    <a:pt x="94" y="88"/>
                    <a:pt x="96" y="89"/>
                  </a:cubicBezTo>
                  <a:cubicBezTo>
                    <a:pt x="98" y="91"/>
                    <a:pt x="100" y="91"/>
                    <a:pt x="102" y="93"/>
                  </a:cubicBezTo>
                  <a:cubicBezTo>
                    <a:pt x="102" y="93"/>
                    <a:pt x="103" y="93"/>
                    <a:pt x="103" y="94"/>
                  </a:cubicBezTo>
                  <a:cubicBezTo>
                    <a:pt x="104" y="94"/>
                    <a:pt x="104" y="94"/>
                    <a:pt x="104" y="95"/>
                  </a:cubicBezTo>
                  <a:cubicBezTo>
                    <a:pt x="107" y="96"/>
                    <a:pt x="109" y="97"/>
                    <a:pt x="112" y="97"/>
                  </a:cubicBezTo>
                  <a:cubicBezTo>
                    <a:pt x="114" y="98"/>
                    <a:pt x="116" y="98"/>
                    <a:pt x="118" y="99"/>
                  </a:cubicBezTo>
                  <a:cubicBezTo>
                    <a:pt x="118" y="99"/>
                    <a:pt x="118" y="99"/>
                    <a:pt x="118" y="99"/>
                  </a:cubicBezTo>
                  <a:cubicBezTo>
                    <a:pt x="120" y="99"/>
                    <a:pt x="122" y="99"/>
                    <a:pt x="123" y="99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5" y="99"/>
                    <a:pt x="125" y="99"/>
                    <a:pt x="126" y="99"/>
                  </a:cubicBezTo>
                  <a:cubicBezTo>
                    <a:pt x="131" y="98"/>
                    <a:pt x="137" y="97"/>
                    <a:pt x="142" y="95"/>
                  </a:cubicBezTo>
                  <a:cubicBezTo>
                    <a:pt x="143" y="94"/>
                    <a:pt x="145" y="93"/>
                    <a:pt x="146" y="93"/>
                  </a:cubicBezTo>
                  <a:cubicBezTo>
                    <a:pt x="147" y="92"/>
                    <a:pt x="147" y="92"/>
                    <a:pt x="148" y="91"/>
                  </a:cubicBezTo>
                  <a:cubicBezTo>
                    <a:pt x="149" y="90"/>
                    <a:pt x="150" y="90"/>
                    <a:pt x="151" y="89"/>
                  </a:cubicBezTo>
                  <a:cubicBezTo>
                    <a:pt x="154" y="86"/>
                    <a:pt x="157" y="83"/>
                    <a:pt x="159" y="81"/>
                  </a:cubicBezTo>
                  <a:cubicBezTo>
                    <a:pt x="159" y="81"/>
                    <a:pt x="159" y="81"/>
                    <a:pt x="159" y="81"/>
                  </a:cubicBezTo>
                  <a:cubicBezTo>
                    <a:pt x="160" y="81"/>
                    <a:pt x="160" y="80"/>
                    <a:pt x="161" y="79"/>
                  </a:cubicBezTo>
                  <a:moveTo>
                    <a:pt x="164" y="81"/>
                  </a:moveTo>
                  <a:cubicBezTo>
                    <a:pt x="164" y="81"/>
                    <a:pt x="164" y="81"/>
                    <a:pt x="164" y="82"/>
                  </a:cubicBezTo>
                  <a:cubicBezTo>
                    <a:pt x="164" y="82"/>
                    <a:pt x="164" y="82"/>
                    <a:pt x="163" y="82"/>
                  </a:cubicBezTo>
                  <a:cubicBezTo>
                    <a:pt x="163" y="82"/>
                    <a:pt x="163" y="83"/>
                    <a:pt x="162" y="83"/>
                  </a:cubicBezTo>
                  <a:cubicBezTo>
                    <a:pt x="162" y="83"/>
                    <a:pt x="163" y="83"/>
                    <a:pt x="163" y="83"/>
                  </a:cubicBezTo>
                  <a:cubicBezTo>
                    <a:pt x="162" y="84"/>
                    <a:pt x="161" y="85"/>
                    <a:pt x="160" y="85"/>
                  </a:cubicBezTo>
                  <a:cubicBezTo>
                    <a:pt x="160" y="86"/>
                    <a:pt x="160" y="85"/>
                    <a:pt x="160" y="86"/>
                  </a:cubicBezTo>
                  <a:cubicBezTo>
                    <a:pt x="160" y="86"/>
                    <a:pt x="159" y="86"/>
                    <a:pt x="159" y="86"/>
                  </a:cubicBezTo>
                  <a:cubicBezTo>
                    <a:pt x="159" y="86"/>
                    <a:pt x="159" y="86"/>
                    <a:pt x="159" y="86"/>
                  </a:cubicBezTo>
                  <a:cubicBezTo>
                    <a:pt x="159" y="86"/>
                    <a:pt x="159" y="86"/>
                    <a:pt x="159" y="86"/>
                  </a:cubicBezTo>
                  <a:cubicBezTo>
                    <a:pt x="159" y="87"/>
                    <a:pt x="159" y="86"/>
                    <a:pt x="159" y="86"/>
                  </a:cubicBezTo>
                  <a:cubicBezTo>
                    <a:pt x="157" y="88"/>
                    <a:pt x="156" y="89"/>
                    <a:pt x="154" y="90"/>
                  </a:cubicBezTo>
                  <a:cubicBezTo>
                    <a:pt x="154" y="91"/>
                    <a:pt x="153" y="92"/>
                    <a:pt x="152" y="92"/>
                  </a:cubicBezTo>
                  <a:cubicBezTo>
                    <a:pt x="152" y="93"/>
                    <a:pt x="151" y="93"/>
                    <a:pt x="150" y="94"/>
                  </a:cubicBezTo>
                  <a:cubicBezTo>
                    <a:pt x="150" y="94"/>
                    <a:pt x="150" y="94"/>
                    <a:pt x="150" y="94"/>
                  </a:cubicBezTo>
                  <a:cubicBezTo>
                    <a:pt x="147" y="97"/>
                    <a:pt x="143" y="98"/>
                    <a:pt x="139" y="99"/>
                  </a:cubicBezTo>
                  <a:cubicBezTo>
                    <a:pt x="139" y="100"/>
                    <a:pt x="139" y="99"/>
                    <a:pt x="139" y="99"/>
                  </a:cubicBezTo>
                  <a:cubicBezTo>
                    <a:pt x="133" y="101"/>
                    <a:pt x="126" y="103"/>
                    <a:pt x="121" y="102"/>
                  </a:cubicBezTo>
                  <a:cubicBezTo>
                    <a:pt x="121" y="102"/>
                    <a:pt x="121" y="102"/>
                    <a:pt x="120" y="102"/>
                  </a:cubicBezTo>
                  <a:cubicBezTo>
                    <a:pt x="118" y="102"/>
                    <a:pt x="116" y="102"/>
                    <a:pt x="114" y="101"/>
                  </a:cubicBezTo>
                  <a:cubicBezTo>
                    <a:pt x="113" y="101"/>
                    <a:pt x="112" y="101"/>
                    <a:pt x="110" y="101"/>
                  </a:cubicBezTo>
                  <a:cubicBezTo>
                    <a:pt x="110" y="101"/>
                    <a:pt x="110" y="100"/>
                    <a:pt x="110" y="100"/>
                  </a:cubicBezTo>
                  <a:cubicBezTo>
                    <a:pt x="110" y="100"/>
                    <a:pt x="110" y="100"/>
                    <a:pt x="110" y="100"/>
                  </a:cubicBezTo>
                  <a:cubicBezTo>
                    <a:pt x="108" y="100"/>
                    <a:pt x="106" y="99"/>
                    <a:pt x="105" y="99"/>
                  </a:cubicBezTo>
                  <a:cubicBezTo>
                    <a:pt x="105" y="98"/>
                    <a:pt x="104" y="98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2" y="96"/>
                    <a:pt x="99" y="95"/>
                    <a:pt x="96" y="94"/>
                  </a:cubicBezTo>
                  <a:cubicBezTo>
                    <a:pt x="95" y="93"/>
                    <a:pt x="93" y="92"/>
                    <a:pt x="92" y="91"/>
                  </a:cubicBezTo>
                  <a:cubicBezTo>
                    <a:pt x="92" y="91"/>
                    <a:pt x="91" y="91"/>
                    <a:pt x="91" y="91"/>
                  </a:cubicBezTo>
                  <a:cubicBezTo>
                    <a:pt x="91" y="90"/>
                    <a:pt x="91" y="91"/>
                    <a:pt x="91" y="91"/>
                  </a:cubicBezTo>
                  <a:cubicBezTo>
                    <a:pt x="89" y="89"/>
                    <a:pt x="88" y="88"/>
                    <a:pt x="86" y="87"/>
                  </a:cubicBezTo>
                  <a:cubicBezTo>
                    <a:pt x="86" y="87"/>
                    <a:pt x="86" y="87"/>
                    <a:pt x="86" y="87"/>
                  </a:cubicBezTo>
                  <a:cubicBezTo>
                    <a:pt x="86" y="87"/>
                    <a:pt x="86" y="87"/>
                    <a:pt x="86" y="86"/>
                  </a:cubicBezTo>
                  <a:cubicBezTo>
                    <a:pt x="86" y="86"/>
                    <a:pt x="86" y="86"/>
                    <a:pt x="86" y="87"/>
                  </a:cubicBezTo>
                  <a:cubicBezTo>
                    <a:pt x="85" y="86"/>
                    <a:pt x="85" y="86"/>
                    <a:pt x="85" y="85"/>
                  </a:cubicBezTo>
                  <a:cubicBezTo>
                    <a:pt x="85" y="85"/>
                    <a:pt x="85" y="86"/>
                    <a:pt x="84" y="85"/>
                  </a:cubicBezTo>
                  <a:cubicBezTo>
                    <a:pt x="84" y="85"/>
                    <a:pt x="84" y="85"/>
                    <a:pt x="84" y="85"/>
                  </a:cubicBezTo>
                  <a:cubicBezTo>
                    <a:pt x="82" y="84"/>
                    <a:pt x="81" y="81"/>
                    <a:pt x="80" y="80"/>
                  </a:cubicBezTo>
                  <a:cubicBezTo>
                    <a:pt x="80" y="79"/>
                    <a:pt x="79" y="79"/>
                    <a:pt x="79" y="79"/>
                  </a:cubicBezTo>
                  <a:cubicBezTo>
                    <a:pt x="79" y="79"/>
                    <a:pt x="78" y="78"/>
                    <a:pt x="78" y="78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8" y="77"/>
                    <a:pt x="77" y="77"/>
                    <a:pt x="77" y="76"/>
                  </a:cubicBezTo>
                  <a:cubicBezTo>
                    <a:pt x="77" y="76"/>
                    <a:pt x="77" y="76"/>
                    <a:pt x="77" y="76"/>
                  </a:cubicBezTo>
                  <a:cubicBezTo>
                    <a:pt x="76" y="75"/>
                    <a:pt x="76" y="73"/>
                    <a:pt x="75" y="7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5" y="70"/>
                    <a:pt x="75" y="71"/>
                    <a:pt x="75" y="71"/>
                  </a:cubicBezTo>
                  <a:cubicBezTo>
                    <a:pt x="74" y="70"/>
                    <a:pt x="74" y="70"/>
                    <a:pt x="74" y="69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4" y="69"/>
                    <a:pt x="73" y="68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6"/>
                    <a:pt x="72" y="64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1"/>
                    <a:pt x="72" y="61"/>
                  </a:cubicBezTo>
                  <a:cubicBezTo>
                    <a:pt x="72" y="61"/>
                    <a:pt x="72" y="61"/>
                    <a:pt x="72" y="60"/>
                  </a:cubicBezTo>
                  <a:cubicBezTo>
                    <a:pt x="71" y="58"/>
                    <a:pt x="71" y="56"/>
                    <a:pt x="71" y="54"/>
                  </a:cubicBezTo>
                  <a:cubicBezTo>
                    <a:pt x="71" y="53"/>
                    <a:pt x="71" y="52"/>
                    <a:pt x="71" y="51"/>
                  </a:cubicBezTo>
                  <a:cubicBezTo>
                    <a:pt x="72" y="50"/>
                    <a:pt x="72" y="48"/>
                    <a:pt x="72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6"/>
                    <a:pt x="72" y="45"/>
                    <a:pt x="72" y="43"/>
                  </a:cubicBezTo>
                  <a:cubicBezTo>
                    <a:pt x="73" y="43"/>
                    <a:pt x="73" y="42"/>
                    <a:pt x="72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0"/>
                    <a:pt x="73" y="39"/>
                    <a:pt x="73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4" y="37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4"/>
                    <a:pt x="75" y="32"/>
                    <a:pt x="75" y="30"/>
                  </a:cubicBezTo>
                  <a:cubicBezTo>
                    <a:pt x="75" y="30"/>
                    <a:pt x="75" y="30"/>
                    <a:pt x="76" y="30"/>
                  </a:cubicBezTo>
                  <a:cubicBezTo>
                    <a:pt x="76" y="29"/>
                    <a:pt x="76" y="28"/>
                    <a:pt x="77" y="27"/>
                  </a:cubicBezTo>
                  <a:cubicBezTo>
                    <a:pt x="77" y="27"/>
                    <a:pt x="77" y="26"/>
                    <a:pt x="77" y="26"/>
                  </a:cubicBezTo>
                  <a:cubicBezTo>
                    <a:pt x="77" y="25"/>
                    <a:pt x="78" y="24"/>
                    <a:pt x="78" y="23"/>
                  </a:cubicBezTo>
                  <a:cubicBezTo>
                    <a:pt x="80" y="22"/>
                    <a:pt x="81" y="20"/>
                    <a:pt x="82" y="19"/>
                  </a:cubicBezTo>
                  <a:cubicBezTo>
                    <a:pt x="84" y="18"/>
                    <a:pt x="84" y="17"/>
                    <a:pt x="86" y="16"/>
                  </a:cubicBezTo>
                  <a:cubicBezTo>
                    <a:pt x="88" y="14"/>
                    <a:pt x="91" y="13"/>
                    <a:pt x="93" y="11"/>
                  </a:cubicBezTo>
                  <a:cubicBezTo>
                    <a:pt x="93" y="10"/>
                    <a:pt x="93" y="10"/>
                    <a:pt x="94" y="10"/>
                  </a:cubicBezTo>
                  <a:cubicBezTo>
                    <a:pt x="94" y="10"/>
                    <a:pt x="95" y="10"/>
                    <a:pt x="95" y="10"/>
                  </a:cubicBezTo>
                  <a:cubicBezTo>
                    <a:pt x="95" y="9"/>
                    <a:pt x="95" y="9"/>
                    <a:pt x="96" y="9"/>
                  </a:cubicBezTo>
                  <a:cubicBezTo>
                    <a:pt x="97" y="9"/>
                    <a:pt x="98" y="8"/>
                    <a:pt x="98" y="8"/>
                  </a:cubicBezTo>
                  <a:cubicBezTo>
                    <a:pt x="99" y="8"/>
                    <a:pt x="99" y="8"/>
                    <a:pt x="99" y="8"/>
                  </a:cubicBezTo>
                  <a:cubicBezTo>
                    <a:pt x="100" y="7"/>
                    <a:pt x="102" y="7"/>
                    <a:pt x="103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5" y="5"/>
                    <a:pt x="107" y="4"/>
                    <a:pt x="109" y="4"/>
                  </a:cubicBezTo>
                  <a:cubicBezTo>
                    <a:pt x="111" y="3"/>
                    <a:pt x="114" y="2"/>
                    <a:pt x="116" y="2"/>
                  </a:cubicBezTo>
                  <a:cubicBezTo>
                    <a:pt x="118" y="2"/>
                    <a:pt x="119" y="2"/>
                    <a:pt x="121" y="1"/>
                  </a:cubicBezTo>
                  <a:cubicBezTo>
                    <a:pt x="121" y="2"/>
                    <a:pt x="122" y="1"/>
                    <a:pt x="123" y="2"/>
                  </a:cubicBezTo>
                  <a:cubicBezTo>
                    <a:pt x="123" y="1"/>
                    <a:pt x="124" y="1"/>
                    <a:pt x="124" y="1"/>
                  </a:cubicBezTo>
                  <a:cubicBezTo>
                    <a:pt x="124" y="2"/>
                    <a:pt x="124" y="2"/>
                    <a:pt x="124" y="2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4" y="1"/>
                    <a:pt x="124" y="2"/>
                    <a:pt x="124" y="2"/>
                  </a:cubicBezTo>
                  <a:cubicBezTo>
                    <a:pt x="124" y="2"/>
                    <a:pt x="124" y="2"/>
                    <a:pt x="124" y="2"/>
                  </a:cubicBezTo>
                  <a:cubicBezTo>
                    <a:pt x="125" y="2"/>
                    <a:pt x="125" y="2"/>
                    <a:pt x="124" y="2"/>
                  </a:cubicBezTo>
                  <a:cubicBezTo>
                    <a:pt x="125" y="1"/>
                    <a:pt x="125" y="2"/>
                    <a:pt x="125" y="2"/>
                  </a:cubicBezTo>
                  <a:cubicBezTo>
                    <a:pt x="125" y="2"/>
                    <a:pt x="125" y="2"/>
                    <a:pt x="125" y="2"/>
                  </a:cubicBezTo>
                  <a:cubicBezTo>
                    <a:pt x="126" y="2"/>
                    <a:pt x="128" y="2"/>
                    <a:pt x="129" y="2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29" y="2"/>
                    <a:pt x="129" y="2"/>
                    <a:pt x="129" y="2"/>
                  </a:cubicBezTo>
                  <a:cubicBezTo>
                    <a:pt x="130" y="2"/>
                    <a:pt x="130" y="2"/>
                    <a:pt x="131" y="2"/>
                  </a:cubicBezTo>
                  <a:cubicBezTo>
                    <a:pt x="133" y="3"/>
                    <a:pt x="135" y="3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8" y="4"/>
                    <a:pt x="139" y="4"/>
                    <a:pt x="139" y="5"/>
                  </a:cubicBezTo>
                  <a:cubicBezTo>
                    <a:pt x="140" y="5"/>
                    <a:pt x="140" y="5"/>
                    <a:pt x="141" y="5"/>
                  </a:cubicBezTo>
                  <a:cubicBezTo>
                    <a:pt x="142" y="6"/>
                    <a:pt x="144" y="6"/>
                    <a:pt x="146" y="7"/>
                  </a:cubicBezTo>
                  <a:cubicBezTo>
                    <a:pt x="146" y="7"/>
                    <a:pt x="146" y="7"/>
                    <a:pt x="146" y="7"/>
                  </a:cubicBezTo>
                  <a:cubicBezTo>
                    <a:pt x="146" y="7"/>
                    <a:pt x="146" y="7"/>
                    <a:pt x="146" y="7"/>
                  </a:cubicBezTo>
                  <a:cubicBezTo>
                    <a:pt x="146" y="7"/>
                    <a:pt x="147" y="7"/>
                    <a:pt x="147" y="8"/>
                  </a:cubicBezTo>
                  <a:cubicBezTo>
                    <a:pt x="147" y="7"/>
                    <a:pt x="147" y="8"/>
                    <a:pt x="147" y="8"/>
                  </a:cubicBezTo>
                  <a:cubicBezTo>
                    <a:pt x="147" y="8"/>
                    <a:pt x="147" y="8"/>
                    <a:pt x="148" y="8"/>
                  </a:cubicBezTo>
                  <a:cubicBezTo>
                    <a:pt x="148" y="8"/>
                    <a:pt x="147" y="8"/>
                    <a:pt x="148" y="8"/>
                  </a:cubicBezTo>
                  <a:cubicBezTo>
                    <a:pt x="148" y="8"/>
                    <a:pt x="148" y="8"/>
                    <a:pt x="149" y="9"/>
                  </a:cubicBezTo>
                  <a:cubicBezTo>
                    <a:pt x="149" y="9"/>
                    <a:pt x="150" y="9"/>
                    <a:pt x="150" y="10"/>
                  </a:cubicBezTo>
                  <a:cubicBezTo>
                    <a:pt x="151" y="10"/>
                    <a:pt x="152" y="11"/>
                    <a:pt x="153" y="11"/>
                  </a:cubicBezTo>
                  <a:cubicBezTo>
                    <a:pt x="153" y="11"/>
                    <a:pt x="153" y="11"/>
                    <a:pt x="153" y="11"/>
                  </a:cubicBezTo>
                  <a:cubicBezTo>
                    <a:pt x="153" y="11"/>
                    <a:pt x="153" y="12"/>
                    <a:pt x="153" y="11"/>
                  </a:cubicBezTo>
                  <a:cubicBezTo>
                    <a:pt x="153" y="12"/>
                    <a:pt x="153" y="12"/>
                    <a:pt x="153" y="12"/>
                  </a:cubicBezTo>
                  <a:cubicBezTo>
                    <a:pt x="153" y="12"/>
                    <a:pt x="154" y="12"/>
                    <a:pt x="154" y="13"/>
                  </a:cubicBezTo>
                  <a:cubicBezTo>
                    <a:pt x="154" y="13"/>
                    <a:pt x="154" y="13"/>
                    <a:pt x="154" y="13"/>
                  </a:cubicBezTo>
                  <a:cubicBezTo>
                    <a:pt x="156" y="14"/>
                    <a:pt x="157" y="15"/>
                    <a:pt x="158" y="16"/>
                  </a:cubicBezTo>
                  <a:cubicBezTo>
                    <a:pt x="159" y="17"/>
                    <a:pt x="159" y="17"/>
                    <a:pt x="159" y="17"/>
                  </a:cubicBezTo>
                  <a:cubicBezTo>
                    <a:pt x="159" y="17"/>
                    <a:pt x="159" y="17"/>
                    <a:pt x="159" y="18"/>
                  </a:cubicBezTo>
                  <a:cubicBezTo>
                    <a:pt x="160" y="18"/>
                    <a:pt x="161" y="19"/>
                    <a:pt x="161" y="20"/>
                  </a:cubicBezTo>
                  <a:cubicBezTo>
                    <a:pt x="161" y="20"/>
                    <a:pt x="161" y="19"/>
                    <a:pt x="161" y="20"/>
                  </a:cubicBezTo>
                  <a:cubicBezTo>
                    <a:pt x="162" y="22"/>
                    <a:pt x="163" y="23"/>
                    <a:pt x="165" y="25"/>
                  </a:cubicBezTo>
                  <a:cubicBezTo>
                    <a:pt x="167" y="28"/>
                    <a:pt x="168" y="30"/>
                    <a:pt x="170" y="33"/>
                  </a:cubicBezTo>
                  <a:cubicBezTo>
                    <a:pt x="170" y="33"/>
                    <a:pt x="170" y="34"/>
                    <a:pt x="170" y="34"/>
                  </a:cubicBezTo>
                  <a:cubicBezTo>
                    <a:pt x="170" y="34"/>
                    <a:pt x="171" y="35"/>
                    <a:pt x="171" y="35"/>
                  </a:cubicBezTo>
                  <a:cubicBezTo>
                    <a:pt x="172" y="36"/>
                    <a:pt x="172" y="39"/>
                    <a:pt x="173" y="40"/>
                  </a:cubicBezTo>
                  <a:cubicBezTo>
                    <a:pt x="173" y="41"/>
                    <a:pt x="173" y="41"/>
                    <a:pt x="173" y="41"/>
                  </a:cubicBezTo>
                  <a:cubicBezTo>
                    <a:pt x="173" y="41"/>
                    <a:pt x="173" y="42"/>
                    <a:pt x="173" y="42"/>
                  </a:cubicBezTo>
                  <a:cubicBezTo>
                    <a:pt x="174" y="44"/>
                    <a:pt x="174" y="45"/>
                    <a:pt x="174" y="46"/>
                  </a:cubicBezTo>
                  <a:cubicBezTo>
                    <a:pt x="174" y="48"/>
                    <a:pt x="174" y="50"/>
                    <a:pt x="175" y="52"/>
                  </a:cubicBezTo>
                  <a:cubicBezTo>
                    <a:pt x="174" y="52"/>
                    <a:pt x="175" y="53"/>
                    <a:pt x="175" y="54"/>
                  </a:cubicBezTo>
                  <a:cubicBezTo>
                    <a:pt x="175" y="57"/>
                    <a:pt x="174" y="60"/>
                    <a:pt x="173" y="62"/>
                  </a:cubicBezTo>
                  <a:cubicBezTo>
                    <a:pt x="173" y="64"/>
                    <a:pt x="173" y="65"/>
                    <a:pt x="172" y="67"/>
                  </a:cubicBezTo>
                  <a:cubicBezTo>
                    <a:pt x="171" y="68"/>
                    <a:pt x="171" y="70"/>
                    <a:pt x="171" y="71"/>
                  </a:cubicBezTo>
                  <a:cubicBezTo>
                    <a:pt x="170" y="71"/>
                    <a:pt x="170" y="71"/>
                    <a:pt x="170" y="71"/>
                  </a:cubicBezTo>
                  <a:cubicBezTo>
                    <a:pt x="170" y="72"/>
                    <a:pt x="170" y="72"/>
                    <a:pt x="169" y="73"/>
                  </a:cubicBezTo>
                  <a:cubicBezTo>
                    <a:pt x="169" y="73"/>
                    <a:pt x="169" y="73"/>
                    <a:pt x="169" y="73"/>
                  </a:cubicBezTo>
                  <a:cubicBezTo>
                    <a:pt x="169" y="73"/>
                    <a:pt x="169" y="73"/>
                    <a:pt x="169" y="73"/>
                  </a:cubicBezTo>
                  <a:cubicBezTo>
                    <a:pt x="169" y="75"/>
                    <a:pt x="168" y="76"/>
                    <a:pt x="167" y="77"/>
                  </a:cubicBezTo>
                  <a:cubicBezTo>
                    <a:pt x="167" y="77"/>
                    <a:pt x="167" y="78"/>
                    <a:pt x="166" y="78"/>
                  </a:cubicBezTo>
                  <a:cubicBezTo>
                    <a:pt x="166" y="79"/>
                    <a:pt x="165" y="80"/>
                    <a:pt x="164" y="81"/>
                  </a:cubicBezTo>
                  <a:moveTo>
                    <a:pt x="123" y="144"/>
                  </a:moveTo>
                  <a:cubicBezTo>
                    <a:pt x="123" y="143"/>
                    <a:pt x="123" y="143"/>
                    <a:pt x="123" y="143"/>
                  </a:cubicBezTo>
                  <a:cubicBezTo>
                    <a:pt x="123" y="144"/>
                    <a:pt x="123" y="144"/>
                    <a:pt x="123" y="144"/>
                  </a:cubicBezTo>
                  <a:cubicBezTo>
                    <a:pt x="124" y="142"/>
                    <a:pt x="126" y="141"/>
                    <a:pt x="126" y="139"/>
                  </a:cubicBezTo>
                  <a:cubicBezTo>
                    <a:pt x="127" y="139"/>
                    <a:pt x="127" y="138"/>
                    <a:pt x="127" y="138"/>
                  </a:cubicBezTo>
                  <a:cubicBezTo>
                    <a:pt x="128" y="138"/>
                    <a:pt x="128" y="137"/>
                    <a:pt x="128" y="137"/>
                  </a:cubicBezTo>
                  <a:cubicBezTo>
                    <a:pt x="128" y="136"/>
                    <a:pt x="129" y="136"/>
                    <a:pt x="129" y="135"/>
                  </a:cubicBezTo>
                  <a:cubicBezTo>
                    <a:pt x="129" y="135"/>
                    <a:pt x="130" y="135"/>
                    <a:pt x="130" y="134"/>
                  </a:cubicBezTo>
                  <a:cubicBezTo>
                    <a:pt x="131" y="132"/>
                    <a:pt x="132" y="129"/>
                    <a:pt x="133" y="126"/>
                  </a:cubicBezTo>
                  <a:cubicBezTo>
                    <a:pt x="133" y="125"/>
                    <a:pt x="134" y="124"/>
                    <a:pt x="134" y="123"/>
                  </a:cubicBezTo>
                  <a:cubicBezTo>
                    <a:pt x="134" y="119"/>
                    <a:pt x="135" y="116"/>
                    <a:pt x="135" y="112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34" y="107"/>
                    <a:pt x="133" y="103"/>
                    <a:pt x="131" y="100"/>
                  </a:cubicBezTo>
                  <a:cubicBezTo>
                    <a:pt x="131" y="100"/>
                    <a:pt x="131" y="100"/>
                    <a:pt x="131" y="99"/>
                  </a:cubicBezTo>
                  <a:cubicBezTo>
                    <a:pt x="130" y="97"/>
                    <a:pt x="129" y="95"/>
                    <a:pt x="128" y="93"/>
                  </a:cubicBezTo>
                  <a:cubicBezTo>
                    <a:pt x="127" y="91"/>
                    <a:pt x="126" y="89"/>
                    <a:pt x="126" y="88"/>
                  </a:cubicBezTo>
                  <a:cubicBezTo>
                    <a:pt x="124" y="85"/>
                    <a:pt x="122" y="82"/>
                    <a:pt x="120" y="80"/>
                  </a:cubicBezTo>
                  <a:cubicBezTo>
                    <a:pt x="118" y="77"/>
                    <a:pt x="115" y="76"/>
                    <a:pt x="113" y="74"/>
                  </a:cubicBezTo>
                  <a:cubicBezTo>
                    <a:pt x="112" y="74"/>
                    <a:pt x="111" y="73"/>
                    <a:pt x="110" y="73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04" y="70"/>
                    <a:pt x="97" y="69"/>
                    <a:pt x="91" y="67"/>
                  </a:cubicBezTo>
                  <a:cubicBezTo>
                    <a:pt x="90" y="67"/>
                    <a:pt x="89" y="67"/>
                    <a:pt x="89" y="66"/>
                  </a:cubicBezTo>
                  <a:cubicBezTo>
                    <a:pt x="88" y="66"/>
                    <a:pt x="87" y="66"/>
                    <a:pt x="87" y="66"/>
                  </a:cubicBezTo>
                  <a:cubicBezTo>
                    <a:pt x="87" y="66"/>
                    <a:pt x="87" y="66"/>
                    <a:pt x="86" y="66"/>
                  </a:cubicBezTo>
                  <a:cubicBezTo>
                    <a:pt x="86" y="66"/>
                    <a:pt x="85" y="66"/>
                    <a:pt x="84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3" y="66"/>
                    <a:pt x="82" y="67"/>
                    <a:pt x="81" y="66"/>
                  </a:cubicBezTo>
                  <a:cubicBezTo>
                    <a:pt x="77" y="68"/>
                    <a:pt x="72" y="68"/>
                    <a:pt x="69" y="70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69" y="70"/>
                    <a:pt x="68" y="71"/>
                    <a:pt x="68" y="70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8" y="71"/>
                    <a:pt x="68" y="71"/>
                  </a:cubicBezTo>
                  <a:cubicBezTo>
                    <a:pt x="68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6" y="71"/>
                    <a:pt x="66" y="72"/>
                    <a:pt x="66" y="72"/>
                  </a:cubicBezTo>
                  <a:cubicBezTo>
                    <a:pt x="66" y="72"/>
                    <a:pt x="66" y="71"/>
                    <a:pt x="66" y="71"/>
                  </a:cubicBezTo>
                  <a:cubicBezTo>
                    <a:pt x="66" y="72"/>
                    <a:pt x="66" y="71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5" y="72"/>
                    <a:pt x="65" y="72"/>
                    <a:pt x="65" y="72"/>
                  </a:cubicBezTo>
                  <a:cubicBezTo>
                    <a:pt x="64" y="73"/>
                    <a:pt x="64" y="73"/>
                    <a:pt x="63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2" y="74"/>
                    <a:pt x="61" y="75"/>
                    <a:pt x="60" y="75"/>
                  </a:cubicBezTo>
                  <a:cubicBezTo>
                    <a:pt x="60" y="75"/>
                    <a:pt x="59" y="75"/>
                    <a:pt x="59" y="75"/>
                  </a:cubicBezTo>
                  <a:cubicBezTo>
                    <a:pt x="59" y="76"/>
                    <a:pt x="57" y="76"/>
                    <a:pt x="56" y="77"/>
                  </a:cubicBezTo>
                  <a:cubicBezTo>
                    <a:pt x="55" y="78"/>
                    <a:pt x="54" y="78"/>
                    <a:pt x="54" y="79"/>
                  </a:cubicBezTo>
                  <a:cubicBezTo>
                    <a:pt x="52" y="81"/>
                    <a:pt x="50" y="82"/>
                    <a:pt x="49" y="83"/>
                  </a:cubicBezTo>
                  <a:cubicBezTo>
                    <a:pt x="49" y="84"/>
                    <a:pt x="49" y="84"/>
                    <a:pt x="48" y="84"/>
                  </a:cubicBezTo>
                  <a:cubicBezTo>
                    <a:pt x="48" y="84"/>
                    <a:pt x="48" y="84"/>
                    <a:pt x="47" y="85"/>
                  </a:cubicBezTo>
                  <a:cubicBezTo>
                    <a:pt x="46" y="86"/>
                    <a:pt x="45" y="87"/>
                    <a:pt x="44" y="89"/>
                  </a:cubicBezTo>
                  <a:cubicBezTo>
                    <a:pt x="44" y="90"/>
                    <a:pt x="44" y="92"/>
                    <a:pt x="43" y="93"/>
                  </a:cubicBezTo>
                  <a:cubicBezTo>
                    <a:pt x="42" y="96"/>
                    <a:pt x="41" y="98"/>
                    <a:pt x="41" y="101"/>
                  </a:cubicBezTo>
                  <a:cubicBezTo>
                    <a:pt x="40" y="101"/>
                    <a:pt x="40" y="101"/>
                    <a:pt x="40" y="101"/>
                  </a:cubicBezTo>
                  <a:cubicBezTo>
                    <a:pt x="41" y="102"/>
                    <a:pt x="40" y="104"/>
                    <a:pt x="40" y="106"/>
                  </a:cubicBezTo>
                  <a:cubicBezTo>
                    <a:pt x="39" y="109"/>
                    <a:pt x="39" y="112"/>
                    <a:pt x="40" y="117"/>
                  </a:cubicBezTo>
                  <a:cubicBezTo>
                    <a:pt x="40" y="118"/>
                    <a:pt x="40" y="119"/>
                    <a:pt x="40" y="121"/>
                  </a:cubicBezTo>
                  <a:cubicBezTo>
                    <a:pt x="40" y="122"/>
                    <a:pt x="40" y="123"/>
                    <a:pt x="40" y="123"/>
                  </a:cubicBezTo>
                  <a:cubicBezTo>
                    <a:pt x="40" y="123"/>
                    <a:pt x="41" y="124"/>
                    <a:pt x="41" y="124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41" y="124"/>
                    <a:pt x="41" y="124"/>
                  </a:cubicBezTo>
                  <a:cubicBezTo>
                    <a:pt x="41" y="125"/>
                    <a:pt x="41" y="126"/>
                    <a:pt x="41" y="127"/>
                  </a:cubicBezTo>
                  <a:cubicBezTo>
                    <a:pt x="41" y="128"/>
                    <a:pt x="42" y="129"/>
                    <a:pt x="41" y="130"/>
                  </a:cubicBezTo>
                  <a:cubicBezTo>
                    <a:pt x="42" y="130"/>
                    <a:pt x="42" y="132"/>
                    <a:pt x="42" y="132"/>
                  </a:cubicBezTo>
                  <a:cubicBezTo>
                    <a:pt x="42" y="132"/>
                    <a:pt x="42" y="133"/>
                    <a:pt x="42" y="133"/>
                  </a:cubicBezTo>
                  <a:cubicBezTo>
                    <a:pt x="43" y="133"/>
                    <a:pt x="43" y="133"/>
                    <a:pt x="42" y="134"/>
                  </a:cubicBezTo>
                  <a:cubicBezTo>
                    <a:pt x="43" y="134"/>
                    <a:pt x="43" y="134"/>
                    <a:pt x="43" y="134"/>
                  </a:cubicBezTo>
                  <a:cubicBezTo>
                    <a:pt x="42" y="134"/>
                    <a:pt x="43" y="135"/>
                    <a:pt x="43" y="135"/>
                  </a:cubicBezTo>
                  <a:cubicBezTo>
                    <a:pt x="43" y="136"/>
                    <a:pt x="43" y="135"/>
                    <a:pt x="44" y="136"/>
                  </a:cubicBezTo>
                  <a:cubicBezTo>
                    <a:pt x="44" y="136"/>
                    <a:pt x="43" y="136"/>
                    <a:pt x="43" y="136"/>
                  </a:cubicBezTo>
                  <a:cubicBezTo>
                    <a:pt x="44" y="136"/>
                    <a:pt x="45" y="137"/>
                    <a:pt x="4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46" y="139"/>
                    <a:pt x="46" y="140"/>
                    <a:pt x="46" y="140"/>
                  </a:cubicBezTo>
                  <a:cubicBezTo>
                    <a:pt x="47" y="141"/>
                    <a:pt x="48" y="142"/>
                    <a:pt x="49" y="143"/>
                  </a:cubicBezTo>
                  <a:cubicBezTo>
                    <a:pt x="49" y="143"/>
                    <a:pt x="49" y="143"/>
                    <a:pt x="49" y="143"/>
                  </a:cubicBezTo>
                  <a:cubicBezTo>
                    <a:pt x="49" y="143"/>
                    <a:pt x="49" y="143"/>
                    <a:pt x="50" y="144"/>
                  </a:cubicBezTo>
                  <a:cubicBezTo>
                    <a:pt x="50" y="144"/>
                    <a:pt x="51" y="145"/>
                    <a:pt x="52" y="146"/>
                  </a:cubicBezTo>
                  <a:cubicBezTo>
                    <a:pt x="52" y="146"/>
                    <a:pt x="52" y="146"/>
                    <a:pt x="52" y="146"/>
                  </a:cubicBezTo>
                  <a:cubicBezTo>
                    <a:pt x="54" y="148"/>
                    <a:pt x="56" y="148"/>
                    <a:pt x="57" y="150"/>
                  </a:cubicBezTo>
                  <a:cubicBezTo>
                    <a:pt x="59" y="151"/>
                    <a:pt x="61" y="152"/>
                    <a:pt x="63" y="153"/>
                  </a:cubicBezTo>
                  <a:cubicBezTo>
                    <a:pt x="64" y="154"/>
                    <a:pt x="64" y="154"/>
                    <a:pt x="65" y="154"/>
                  </a:cubicBezTo>
                  <a:cubicBezTo>
                    <a:pt x="65" y="155"/>
                    <a:pt x="65" y="155"/>
                    <a:pt x="66" y="155"/>
                  </a:cubicBezTo>
                  <a:cubicBezTo>
                    <a:pt x="68" y="157"/>
                    <a:pt x="70" y="158"/>
                    <a:pt x="73" y="159"/>
                  </a:cubicBezTo>
                  <a:cubicBezTo>
                    <a:pt x="75" y="160"/>
                    <a:pt x="77" y="160"/>
                    <a:pt x="79" y="161"/>
                  </a:cubicBezTo>
                  <a:cubicBezTo>
                    <a:pt x="79" y="160"/>
                    <a:pt x="79" y="161"/>
                    <a:pt x="79" y="160"/>
                  </a:cubicBezTo>
                  <a:cubicBezTo>
                    <a:pt x="81" y="161"/>
                    <a:pt x="83" y="161"/>
                    <a:pt x="84" y="161"/>
                  </a:cubicBezTo>
                  <a:cubicBezTo>
                    <a:pt x="85" y="161"/>
                    <a:pt x="85" y="161"/>
                    <a:pt x="85" y="161"/>
                  </a:cubicBezTo>
                  <a:cubicBezTo>
                    <a:pt x="85" y="161"/>
                    <a:pt x="86" y="161"/>
                    <a:pt x="87" y="161"/>
                  </a:cubicBezTo>
                  <a:cubicBezTo>
                    <a:pt x="92" y="161"/>
                    <a:pt x="98" y="160"/>
                    <a:pt x="103" y="158"/>
                  </a:cubicBezTo>
                  <a:cubicBezTo>
                    <a:pt x="104" y="157"/>
                    <a:pt x="106" y="157"/>
                    <a:pt x="107" y="156"/>
                  </a:cubicBezTo>
                  <a:cubicBezTo>
                    <a:pt x="108" y="156"/>
                    <a:pt x="109" y="155"/>
                    <a:pt x="109" y="155"/>
                  </a:cubicBezTo>
                  <a:cubicBezTo>
                    <a:pt x="110" y="154"/>
                    <a:pt x="112" y="153"/>
                    <a:pt x="113" y="153"/>
                  </a:cubicBezTo>
                  <a:cubicBezTo>
                    <a:pt x="116" y="150"/>
                    <a:pt x="119" y="148"/>
                    <a:pt x="121" y="145"/>
                  </a:cubicBezTo>
                  <a:cubicBezTo>
                    <a:pt x="121" y="145"/>
                    <a:pt x="121" y="145"/>
                    <a:pt x="121" y="145"/>
                  </a:cubicBezTo>
                  <a:cubicBezTo>
                    <a:pt x="122" y="145"/>
                    <a:pt x="122" y="144"/>
                    <a:pt x="123" y="144"/>
                  </a:cubicBezTo>
                  <a:moveTo>
                    <a:pt x="126" y="146"/>
                  </a:moveTo>
                  <a:cubicBezTo>
                    <a:pt x="126" y="146"/>
                    <a:pt x="126" y="146"/>
                    <a:pt x="126" y="146"/>
                  </a:cubicBezTo>
                  <a:cubicBezTo>
                    <a:pt x="126" y="147"/>
                    <a:pt x="126" y="147"/>
                    <a:pt x="125" y="146"/>
                  </a:cubicBezTo>
                  <a:cubicBezTo>
                    <a:pt x="125" y="147"/>
                    <a:pt x="125" y="147"/>
                    <a:pt x="124" y="147"/>
                  </a:cubicBezTo>
                  <a:cubicBezTo>
                    <a:pt x="124" y="148"/>
                    <a:pt x="124" y="147"/>
                    <a:pt x="125" y="148"/>
                  </a:cubicBezTo>
                  <a:cubicBezTo>
                    <a:pt x="124" y="148"/>
                    <a:pt x="123" y="150"/>
                    <a:pt x="122" y="150"/>
                  </a:cubicBezTo>
                  <a:cubicBezTo>
                    <a:pt x="121" y="150"/>
                    <a:pt x="122" y="150"/>
                    <a:pt x="122" y="150"/>
                  </a:cubicBezTo>
                  <a:cubicBezTo>
                    <a:pt x="121" y="150"/>
                    <a:pt x="121" y="151"/>
                    <a:pt x="121" y="150"/>
                  </a:cubicBezTo>
                  <a:cubicBezTo>
                    <a:pt x="121" y="151"/>
                    <a:pt x="121" y="151"/>
                    <a:pt x="121" y="151"/>
                  </a:cubicBezTo>
                  <a:cubicBezTo>
                    <a:pt x="121" y="151"/>
                    <a:pt x="120" y="151"/>
                    <a:pt x="120" y="151"/>
                  </a:cubicBezTo>
                  <a:cubicBezTo>
                    <a:pt x="120" y="151"/>
                    <a:pt x="120" y="151"/>
                    <a:pt x="120" y="151"/>
                  </a:cubicBezTo>
                  <a:cubicBezTo>
                    <a:pt x="119" y="152"/>
                    <a:pt x="117" y="153"/>
                    <a:pt x="115" y="155"/>
                  </a:cubicBezTo>
                  <a:cubicBezTo>
                    <a:pt x="115" y="155"/>
                    <a:pt x="114" y="156"/>
                    <a:pt x="113" y="156"/>
                  </a:cubicBezTo>
                  <a:cubicBezTo>
                    <a:pt x="113" y="157"/>
                    <a:pt x="112" y="157"/>
                    <a:pt x="111" y="158"/>
                  </a:cubicBezTo>
                  <a:cubicBezTo>
                    <a:pt x="111" y="158"/>
                    <a:pt x="111" y="158"/>
                    <a:pt x="111" y="158"/>
                  </a:cubicBezTo>
                  <a:cubicBezTo>
                    <a:pt x="108" y="160"/>
                    <a:pt x="104" y="162"/>
                    <a:pt x="100" y="163"/>
                  </a:cubicBezTo>
                  <a:cubicBezTo>
                    <a:pt x="100" y="163"/>
                    <a:pt x="100" y="163"/>
                    <a:pt x="100" y="163"/>
                  </a:cubicBezTo>
                  <a:cubicBezTo>
                    <a:pt x="93" y="164"/>
                    <a:pt x="87" y="165"/>
                    <a:pt x="82" y="164"/>
                  </a:cubicBezTo>
                  <a:cubicBezTo>
                    <a:pt x="81" y="164"/>
                    <a:pt x="81" y="164"/>
                    <a:pt x="81" y="164"/>
                  </a:cubicBezTo>
                  <a:cubicBezTo>
                    <a:pt x="79" y="163"/>
                    <a:pt x="77" y="163"/>
                    <a:pt x="75" y="163"/>
                  </a:cubicBezTo>
                  <a:cubicBezTo>
                    <a:pt x="74" y="163"/>
                    <a:pt x="72" y="162"/>
                    <a:pt x="71" y="162"/>
                  </a:cubicBezTo>
                  <a:cubicBezTo>
                    <a:pt x="71" y="162"/>
                    <a:pt x="71" y="162"/>
                    <a:pt x="71" y="162"/>
                  </a:cubicBezTo>
                  <a:cubicBezTo>
                    <a:pt x="71" y="162"/>
                    <a:pt x="71" y="162"/>
                    <a:pt x="71" y="162"/>
                  </a:cubicBezTo>
                  <a:cubicBezTo>
                    <a:pt x="69" y="161"/>
                    <a:pt x="67" y="160"/>
                    <a:pt x="66" y="159"/>
                  </a:cubicBezTo>
                  <a:cubicBezTo>
                    <a:pt x="66" y="159"/>
                    <a:pt x="65" y="159"/>
                    <a:pt x="65" y="159"/>
                  </a:cubicBezTo>
                  <a:cubicBezTo>
                    <a:pt x="65" y="159"/>
                    <a:pt x="65" y="159"/>
                    <a:pt x="65" y="159"/>
                  </a:cubicBezTo>
                  <a:cubicBezTo>
                    <a:pt x="63" y="157"/>
                    <a:pt x="60" y="156"/>
                    <a:pt x="58" y="154"/>
                  </a:cubicBezTo>
                  <a:cubicBezTo>
                    <a:pt x="56" y="153"/>
                    <a:pt x="55" y="152"/>
                    <a:pt x="53" y="151"/>
                  </a:cubicBezTo>
                  <a:cubicBezTo>
                    <a:pt x="53" y="151"/>
                    <a:pt x="53" y="151"/>
                    <a:pt x="53" y="151"/>
                  </a:cubicBezTo>
                  <a:cubicBezTo>
                    <a:pt x="53" y="150"/>
                    <a:pt x="53" y="151"/>
                    <a:pt x="53" y="151"/>
                  </a:cubicBezTo>
                  <a:cubicBezTo>
                    <a:pt x="51" y="149"/>
                    <a:pt x="49" y="148"/>
                    <a:pt x="48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7" y="146"/>
                    <a:pt x="47" y="146"/>
                    <a:pt x="48" y="146"/>
                  </a:cubicBezTo>
                  <a:cubicBezTo>
                    <a:pt x="47" y="146"/>
                    <a:pt x="47" y="146"/>
                    <a:pt x="47" y="145"/>
                  </a:cubicBezTo>
                  <a:cubicBezTo>
                    <a:pt x="47" y="145"/>
                    <a:pt x="47" y="145"/>
                    <a:pt x="46" y="145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45" y="143"/>
                    <a:pt x="43" y="141"/>
                    <a:pt x="42" y="139"/>
                  </a:cubicBezTo>
                  <a:cubicBezTo>
                    <a:pt x="42" y="139"/>
                    <a:pt x="42" y="139"/>
                    <a:pt x="42" y="138"/>
                  </a:cubicBezTo>
                  <a:cubicBezTo>
                    <a:pt x="41" y="138"/>
                    <a:pt x="41" y="138"/>
                    <a:pt x="41" y="137"/>
                  </a:cubicBezTo>
                  <a:cubicBezTo>
                    <a:pt x="41" y="137"/>
                    <a:pt x="40" y="137"/>
                    <a:pt x="40" y="136"/>
                  </a:cubicBezTo>
                  <a:cubicBezTo>
                    <a:pt x="40" y="136"/>
                    <a:pt x="40" y="136"/>
                    <a:pt x="40" y="136"/>
                  </a:cubicBezTo>
                  <a:cubicBezTo>
                    <a:pt x="40" y="136"/>
                    <a:pt x="40" y="136"/>
                    <a:pt x="40" y="135"/>
                  </a:cubicBezTo>
                  <a:cubicBezTo>
                    <a:pt x="40" y="135"/>
                    <a:pt x="40" y="136"/>
                    <a:pt x="40" y="135"/>
                  </a:cubicBezTo>
                  <a:cubicBezTo>
                    <a:pt x="39" y="134"/>
                    <a:pt x="38" y="132"/>
                    <a:pt x="38" y="130"/>
                  </a:cubicBezTo>
                  <a:cubicBezTo>
                    <a:pt x="37" y="130"/>
                    <a:pt x="38" y="130"/>
                    <a:pt x="38" y="130"/>
                  </a:cubicBezTo>
                  <a:cubicBezTo>
                    <a:pt x="38" y="130"/>
                    <a:pt x="38" y="130"/>
                    <a:pt x="37" y="130"/>
                  </a:cubicBezTo>
                  <a:cubicBezTo>
                    <a:pt x="37" y="129"/>
                    <a:pt x="37" y="129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6" y="127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4"/>
                    <a:pt x="35" y="123"/>
                    <a:pt x="36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5" y="121"/>
                    <a:pt x="36" y="121"/>
                  </a:cubicBezTo>
                  <a:cubicBezTo>
                    <a:pt x="36" y="121"/>
                    <a:pt x="35" y="121"/>
                    <a:pt x="35" y="121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5" y="119"/>
                  </a:cubicBezTo>
                  <a:cubicBezTo>
                    <a:pt x="35" y="117"/>
                    <a:pt x="35" y="115"/>
                    <a:pt x="35" y="112"/>
                  </a:cubicBezTo>
                  <a:cubicBezTo>
                    <a:pt x="35" y="111"/>
                    <a:pt x="35" y="110"/>
                    <a:pt x="35" y="109"/>
                  </a:cubicBezTo>
                  <a:cubicBezTo>
                    <a:pt x="36" y="108"/>
                    <a:pt x="36" y="107"/>
                    <a:pt x="36" y="106"/>
                  </a:cubicBezTo>
                  <a:cubicBezTo>
                    <a:pt x="36" y="106"/>
                    <a:pt x="36" y="106"/>
                    <a:pt x="36" y="106"/>
                  </a:cubicBezTo>
                  <a:cubicBezTo>
                    <a:pt x="37" y="105"/>
                    <a:pt x="37" y="103"/>
                    <a:pt x="37" y="102"/>
                  </a:cubicBezTo>
                  <a:cubicBezTo>
                    <a:pt x="37" y="102"/>
                    <a:pt x="37" y="101"/>
                    <a:pt x="37" y="100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99"/>
                    <a:pt x="38" y="98"/>
                    <a:pt x="38" y="96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39" y="96"/>
                    <a:pt x="39" y="96"/>
                    <a:pt x="39" y="96"/>
                  </a:cubicBezTo>
                  <a:cubicBezTo>
                    <a:pt x="39" y="96"/>
                    <a:pt x="39" y="95"/>
                    <a:pt x="39" y="95"/>
                  </a:cubicBezTo>
                  <a:cubicBezTo>
                    <a:pt x="39" y="95"/>
                    <a:pt x="39" y="95"/>
                    <a:pt x="39" y="95"/>
                  </a:cubicBezTo>
                  <a:cubicBezTo>
                    <a:pt x="40" y="93"/>
                    <a:pt x="40" y="91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8"/>
                    <a:pt x="42" y="87"/>
                    <a:pt x="42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3" y="84"/>
                    <a:pt x="44" y="83"/>
                    <a:pt x="44" y="82"/>
                  </a:cubicBezTo>
                  <a:cubicBezTo>
                    <a:pt x="46" y="81"/>
                    <a:pt x="47" y="80"/>
                    <a:pt x="48" y="78"/>
                  </a:cubicBezTo>
                  <a:cubicBezTo>
                    <a:pt x="50" y="77"/>
                    <a:pt x="51" y="76"/>
                    <a:pt x="52" y="75"/>
                  </a:cubicBezTo>
                  <a:cubicBezTo>
                    <a:pt x="55" y="74"/>
                    <a:pt x="58" y="73"/>
                    <a:pt x="60" y="71"/>
                  </a:cubicBezTo>
                  <a:cubicBezTo>
                    <a:pt x="60" y="71"/>
                    <a:pt x="60" y="71"/>
                    <a:pt x="61" y="71"/>
                  </a:cubicBezTo>
                  <a:cubicBezTo>
                    <a:pt x="61" y="70"/>
                    <a:pt x="61" y="70"/>
                    <a:pt x="62" y="70"/>
                  </a:cubicBezTo>
                  <a:cubicBezTo>
                    <a:pt x="62" y="70"/>
                    <a:pt x="62" y="70"/>
                    <a:pt x="63" y="70"/>
                  </a:cubicBezTo>
                  <a:cubicBezTo>
                    <a:pt x="64" y="69"/>
                    <a:pt x="65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7" y="68"/>
                    <a:pt x="69" y="68"/>
                    <a:pt x="70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2" y="66"/>
                    <a:pt x="74" y="65"/>
                    <a:pt x="76" y="65"/>
                  </a:cubicBezTo>
                  <a:cubicBezTo>
                    <a:pt x="79" y="64"/>
                    <a:pt x="81" y="64"/>
                    <a:pt x="84" y="64"/>
                  </a:cubicBezTo>
                  <a:cubicBezTo>
                    <a:pt x="85" y="64"/>
                    <a:pt x="87" y="64"/>
                    <a:pt x="88" y="64"/>
                  </a:cubicBezTo>
                  <a:cubicBezTo>
                    <a:pt x="89" y="64"/>
                    <a:pt x="90" y="64"/>
                    <a:pt x="90" y="64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1" y="64"/>
                    <a:pt x="91" y="64"/>
                    <a:pt x="91" y="64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4"/>
                    <a:pt x="92" y="64"/>
                    <a:pt x="93" y="64"/>
                  </a:cubicBezTo>
                  <a:cubicBezTo>
                    <a:pt x="94" y="64"/>
                    <a:pt x="95" y="65"/>
                    <a:pt x="96" y="65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7" y="65"/>
                    <a:pt x="97" y="65"/>
                  </a:cubicBezTo>
                  <a:cubicBezTo>
                    <a:pt x="97" y="65"/>
                    <a:pt x="97" y="65"/>
                    <a:pt x="98" y="65"/>
                  </a:cubicBezTo>
                  <a:cubicBezTo>
                    <a:pt x="100" y="66"/>
                    <a:pt x="102" y="66"/>
                    <a:pt x="104" y="67"/>
                  </a:cubicBezTo>
                  <a:cubicBezTo>
                    <a:pt x="104" y="67"/>
                    <a:pt x="104" y="67"/>
                    <a:pt x="104" y="67"/>
                  </a:cubicBezTo>
                  <a:cubicBezTo>
                    <a:pt x="104" y="67"/>
                    <a:pt x="104" y="67"/>
                    <a:pt x="104" y="67"/>
                  </a:cubicBezTo>
                  <a:cubicBezTo>
                    <a:pt x="105" y="68"/>
                    <a:pt x="106" y="68"/>
                    <a:pt x="107" y="68"/>
                  </a:cubicBezTo>
                  <a:cubicBezTo>
                    <a:pt x="107" y="68"/>
                    <a:pt x="108" y="68"/>
                    <a:pt x="108" y="69"/>
                  </a:cubicBezTo>
                  <a:cubicBezTo>
                    <a:pt x="110" y="69"/>
                    <a:pt x="111" y="70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4" y="71"/>
                    <a:pt x="114" y="72"/>
                  </a:cubicBezTo>
                  <a:cubicBezTo>
                    <a:pt x="114" y="71"/>
                    <a:pt x="114" y="72"/>
                    <a:pt x="114" y="72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115" y="72"/>
                    <a:pt x="114" y="72"/>
                    <a:pt x="115" y="72"/>
                  </a:cubicBezTo>
                  <a:cubicBezTo>
                    <a:pt x="115" y="72"/>
                    <a:pt x="115" y="72"/>
                    <a:pt x="115" y="73"/>
                  </a:cubicBezTo>
                  <a:cubicBezTo>
                    <a:pt x="116" y="73"/>
                    <a:pt x="117" y="74"/>
                    <a:pt x="117" y="74"/>
                  </a:cubicBezTo>
                  <a:cubicBezTo>
                    <a:pt x="118" y="74"/>
                    <a:pt x="119" y="75"/>
                    <a:pt x="119" y="75"/>
                  </a:cubicBezTo>
                  <a:cubicBezTo>
                    <a:pt x="119" y="76"/>
                    <a:pt x="119" y="76"/>
                    <a:pt x="119" y="76"/>
                  </a:cubicBezTo>
                  <a:cubicBezTo>
                    <a:pt x="119" y="76"/>
                    <a:pt x="119" y="76"/>
                    <a:pt x="120" y="76"/>
                  </a:cubicBezTo>
                  <a:cubicBezTo>
                    <a:pt x="120" y="76"/>
                    <a:pt x="120" y="76"/>
                    <a:pt x="120" y="76"/>
                  </a:cubicBezTo>
                  <a:cubicBezTo>
                    <a:pt x="120" y="76"/>
                    <a:pt x="120" y="77"/>
                    <a:pt x="121" y="77"/>
                  </a:cubicBezTo>
                  <a:cubicBezTo>
                    <a:pt x="121" y="77"/>
                    <a:pt x="121" y="77"/>
                    <a:pt x="121" y="77"/>
                  </a:cubicBezTo>
                  <a:cubicBezTo>
                    <a:pt x="122" y="78"/>
                    <a:pt x="124" y="79"/>
                    <a:pt x="124" y="81"/>
                  </a:cubicBezTo>
                  <a:cubicBezTo>
                    <a:pt x="125" y="81"/>
                    <a:pt x="125" y="82"/>
                    <a:pt x="125" y="82"/>
                  </a:cubicBezTo>
                  <a:cubicBezTo>
                    <a:pt x="125" y="82"/>
                    <a:pt x="126" y="82"/>
                    <a:pt x="126" y="82"/>
                  </a:cubicBezTo>
                  <a:cubicBezTo>
                    <a:pt x="126" y="83"/>
                    <a:pt x="127" y="84"/>
                    <a:pt x="127" y="84"/>
                  </a:cubicBezTo>
                  <a:cubicBezTo>
                    <a:pt x="127" y="85"/>
                    <a:pt x="127" y="84"/>
                    <a:pt x="127" y="84"/>
                  </a:cubicBezTo>
                  <a:cubicBezTo>
                    <a:pt x="128" y="86"/>
                    <a:pt x="129" y="88"/>
                    <a:pt x="130" y="90"/>
                  </a:cubicBezTo>
                  <a:cubicBezTo>
                    <a:pt x="132" y="93"/>
                    <a:pt x="134" y="95"/>
                    <a:pt x="135" y="99"/>
                  </a:cubicBezTo>
                  <a:cubicBezTo>
                    <a:pt x="135" y="99"/>
                    <a:pt x="135" y="99"/>
                    <a:pt x="135" y="99"/>
                  </a:cubicBezTo>
                  <a:cubicBezTo>
                    <a:pt x="135" y="99"/>
                    <a:pt x="136" y="100"/>
                    <a:pt x="136" y="100"/>
                  </a:cubicBezTo>
                  <a:cubicBezTo>
                    <a:pt x="137" y="102"/>
                    <a:pt x="137" y="104"/>
                    <a:pt x="138" y="106"/>
                  </a:cubicBezTo>
                  <a:cubicBezTo>
                    <a:pt x="138" y="106"/>
                    <a:pt x="138" y="106"/>
                    <a:pt x="138" y="106"/>
                  </a:cubicBezTo>
                  <a:cubicBezTo>
                    <a:pt x="138" y="107"/>
                    <a:pt x="138" y="107"/>
                    <a:pt x="138" y="108"/>
                  </a:cubicBezTo>
                  <a:cubicBezTo>
                    <a:pt x="138" y="109"/>
                    <a:pt x="138" y="111"/>
                    <a:pt x="138" y="112"/>
                  </a:cubicBezTo>
                  <a:cubicBezTo>
                    <a:pt x="138" y="114"/>
                    <a:pt x="138" y="116"/>
                    <a:pt x="138" y="117"/>
                  </a:cubicBezTo>
                  <a:cubicBezTo>
                    <a:pt x="138" y="118"/>
                    <a:pt x="139" y="119"/>
                    <a:pt x="138" y="119"/>
                  </a:cubicBezTo>
                  <a:cubicBezTo>
                    <a:pt x="138" y="122"/>
                    <a:pt x="137" y="125"/>
                    <a:pt x="136" y="128"/>
                  </a:cubicBezTo>
                  <a:cubicBezTo>
                    <a:pt x="136" y="130"/>
                    <a:pt x="136" y="131"/>
                    <a:pt x="135" y="132"/>
                  </a:cubicBezTo>
                  <a:cubicBezTo>
                    <a:pt x="134" y="134"/>
                    <a:pt x="134" y="135"/>
                    <a:pt x="133" y="136"/>
                  </a:cubicBezTo>
                  <a:cubicBezTo>
                    <a:pt x="133" y="136"/>
                    <a:pt x="133" y="136"/>
                    <a:pt x="133" y="137"/>
                  </a:cubicBezTo>
                  <a:cubicBezTo>
                    <a:pt x="133" y="137"/>
                    <a:pt x="132" y="138"/>
                    <a:pt x="132" y="138"/>
                  </a:cubicBezTo>
                  <a:cubicBezTo>
                    <a:pt x="132" y="139"/>
                    <a:pt x="132" y="139"/>
                    <a:pt x="132" y="139"/>
                  </a:cubicBezTo>
                  <a:cubicBezTo>
                    <a:pt x="132" y="139"/>
                    <a:pt x="132" y="139"/>
                    <a:pt x="132" y="139"/>
                  </a:cubicBezTo>
                  <a:cubicBezTo>
                    <a:pt x="131" y="140"/>
                    <a:pt x="130" y="141"/>
                    <a:pt x="129" y="142"/>
                  </a:cubicBezTo>
                  <a:cubicBezTo>
                    <a:pt x="129" y="143"/>
                    <a:pt x="129" y="143"/>
                    <a:pt x="129" y="143"/>
                  </a:cubicBezTo>
                  <a:cubicBezTo>
                    <a:pt x="128" y="144"/>
                    <a:pt x="127" y="145"/>
                    <a:pt x="126" y="14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57" name="Freeform 30">
              <a:extLst>
                <a:ext uri="{FF2B5EF4-FFF2-40B4-BE49-F238E27FC236}">
                  <a16:creationId xmlns:a16="http://schemas.microsoft.com/office/drawing/2014/main" id="{F7A814E1-C5AD-4425-BADE-9792975D1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1425" y="1503363"/>
              <a:ext cx="331788" cy="195263"/>
            </a:xfrm>
            <a:custGeom>
              <a:avLst/>
              <a:gdLst>
                <a:gd name="T0" fmla="*/ 19 w 34"/>
                <a:gd name="T1" fmla="*/ 0 h 20"/>
                <a:gd name="T2" fmla="*/ 20 w 34"/>
                <a:gd name="T3" fmla="*/ 0 h 20"/>
                <a:gd name="T4" fmla="*/ 29 w 34"/>
                <a:gd name="T5" fmla="*/ 7 h 20"/>
                <a:gd name="T6" fmla="*/ 34 w 34"/>
                <a:gd name="T7" fmla="*/ 11 h 20"/>
                <a:gd name="T8" fmla="*/ 32 w 34"/>
                <a:gd name="T9" fmla="*/ 12 h 20"/>
                <a:gd name="T10" fmla="*/ 31 w 34"/>
                <a:gd name="T11" fmla="*/ 12 h 20"/>
                <a:gd name="T12" fmla="*/ 30 w 34"/>
                <a:gd name="T13" fmla="*/ 13 h 20"/>
                <a:gd name="T14" fmla="*/ 30 w 34"/>
                <a:gd name="T15" fmla="*/ 13 h 20"/>
                <a:gd name="T16" fmla="*/ 24 w 34"/>
                <a:gd name="T17" fmla="*/ 16 h 20"/>
                <a:gd name="T18" fmla="*/ 18 w 34"/>
                <a:gd name="T19" fmla="*/ 20 h 20"/>
                <a:gd name="T20" fmla="*/ 17 w 34"/>
                <a:gd name="T21" fmla="*/ 19 h 20"/>
                <a:gd name="T22" fmla="*/ 17 w 34"/>
                <a:gd name="T23" fmla="*/ 18 h 20"/>
                <a:gd name="T24" fmla="*/ 20 w 34"/>
                <a:gd name="T25" fmla="*/ 14 h 20"/>
                <a:gd name="T26" fmla="*/ 23 w 34"/>
                <a:gd name="T27" fmla="*/ 12 h 20"/>
                <a:gd name="T28" fmla="*/ 18 w 34"/>
                <a:gd name="T29" fmla="*/ 12 h 20"/>
                <a:gd name="T30" fmla="*/ 15 w 34"/>
                <a:gd name="T31" fmla="*/ 12 h 20"/>
                <a:gd name="T32" fmla="*/ 11 w 34"/>
                <a:gd name="T33" fmla="*/ 12 h 20"/>
                <a:gd name="T34" fmla="*/ 9 w 34"/>
                <a:gd name="T35" fmla="*/ 12 h 20"/>
                <a:gd name="T36" fmla="*/ 5 w 34"/>
                <a:gd name="T37" fmla="*/ 12 h 20"/>
                <a:gd name="T38" fmla="*/ 1 w 34"/>
                <a:gd name="T39" fmla="*/ 13 h 20"/>
                <a:gd name="T40" fmla="*/ 0 w 34"/>
                <a:gd name="T41" fmla="*/ 11 h 20"/>
                <a:gd name="T42" fmla="*/ 1 w 34"/>
                <a:gd name="T43" fmla="*/ 9 h 20"/>
                <a:gd name="T44" fmla="*/ 7 w 34"/>
                <a:gd name="T45" fmla="*/ 9 h 20"/>
                <a:gd name="T46" fmla="*/ 12 w 34"/>
                <a:gd name="T47" fmla="*/ 9 h 20"/>
                <a:gd name="T48" fmla="*/ 15 w 34"/>
                <a:gd name="T49" fmla="*/ 8 h 20"/>
                <a:gd name="T50" fmla="*/ 24 w 34"/>
                <a:gd name="T51" fmla="*/ 8 h 20"/>
                <a:gd name="T52" fmla="*/ 24 w 34"/>
                <a:gd name="T53" fmla="*/ 8 h 20"/>
                <a:gd name="T54" fmla="*/ 20 w 34"/>
                <a:gd name="T55" fmla="*/ 5 h 20"/>
                <a:gd name="T56" fmla="*/ 18 w 34"/>
                <a:gd name="T57" fmla="*/ 4 h 20"/>
                <a:gd name="T58" fmla="*/ 18 w 34"/>
                <a:gd name="T59" fmla="*/ 1 h 20"/>
                <a:gd name="T60" fmla="*/ 19 w 34"/>
                <a:gd name="T6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20">
                  <a:moveTo>
                    <a:pt x="19" y="0"/>
                  </a:moveTo>
                  <a:cubicBezTo>
                    <a:pt x="19" y="0"/>
                    <a:pt x="20" y="0"/>
                    <a:pt x="20" y="0"/>
                  </a:cubicBezTo>
                  <a:cubicBezTo>
                    <a:pt x="22" y="2"/>
                    <a:pt x="28" y="6"/>
                    <a:pt x="29" y="7"/>
                  </a:cubicBezTo>
                  <a:cubicBezTo>
                    <a:pt x="31" y="8"/>
                    <a:pt x="34" y="8"/>
                    <a:pt x="34" y="11"/>
                  </a:cubicBezTo>
                  <a:cubicBezTo>
                    <a:pt x="33" y="12"/>
                    <a:pt x="33" y="12"/>
                    <a:pt x="32" y="12"/>
                  </a:cubicBezTo>
                  <a:cubicBezTo>
                    <a:pt x="32" y="12"/>
                    <a:pt x="32" y="12"/>
                    <a:pt x="31" y="12"/>
                  </a:cubicBezTo>
                  <a:cubicBezTo>
                    <a:pt x="31" y="12"/>
                    <a:pt x="31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8" y="14"/>
                    <a:pt x="25" y="15"/>
                    <a:pt x="24" y="16"/>
                  </a:cubicBezTo>
                  <a:cubicBezTo>
                    <a:pt x="21" y="18"/>
                    <a:pt x="21" y="20"/>
                    <a:pt x="18" y="20"/>
                  </a:cubicBezTo>
                  <a:cubicBezTo>
                    <a:pt x="17" y="20"/>
                    <a:pt x="17" y="20"/>
                    <a:pt x="17" y="19"/>
                  </a:cubicBezTo>
                  <a:cubicBezTo>
                    <a:pt x="17" y="19"/>
                    <a:pt x="17" y="18"/>
                    <a:pt x="17" y="18"/>
                  </a:cubicBezTo>
                  <a:cubicBezTo>
                    <a:pt x="18" y="17"/>
                    <a:pt x="19" y="15"/>
                    <a:pt x="20" y="14"/>
                  </a:cubicBezTo>
                  <a:cubicBezTo>
                    <a:pt x="21" y="14"/>
                    <a:pt x="23" y="13"/>
                    <a:pt x="23" y="12"/>
                  </a:cubicBezTo>
                  <a:cubicBezTo>
                    <a:pt x="21" y="12"/>
                    <a:pt x="19" y="12"/>
                    <a:pt x="18" y="12"/>
                  </a:cubicBezTo>
                  <a:cubicBezTo>
                    <a:pt x="17" y="12"/>
                    <a:pt x="16" y="12"/>
                    <a:pt x="15" y="12"/>
                  </a:cubicBezTo>
                  <a:cubicBezTo>
                    <a:pt x="14" y="12"/>
                    <a:pt x="12" y="12"/>
                    <a:pt x="11" y="12"/>
                  </a:cubicBezTo>
                  <a:cubicBezTo>
                    <a:pt x="11" y="12"/>
                    <a:pt x="10" y="12"/>
                    <a:pt x="9" y="12"/>
                  </a:cubicBezTo>
                  <a:cubicBezTo>
                    <a:pt x="8" y="12"/>
                    <a:pt x="6" y="12"/>
                    <a:pt x="5" y="12"/>
                  </a:cubicBezTo>
                  <a:cubicBezTo>
                    <a:pt x="3" y="12"/>
                    <a:pt x="2" y="12"/>
                    <a:pt x="1" y="13"/>
                  </a:cubicBezTo>
                  <a:cubicBezTo>
                    <a:pt x="1" y="12"/>
                    <a:pt x="0" y="12"/>
                    <a:pt x="0" y="11"/>
                  </a:cubicBezTo>
                  <a:cubicBezTo>
                    <a:pt x="1" y="10"/>
                    <a:pt x="0" y="10"/>
                    <a:pt x="1" y="9"/>
                  </a:cubicBezTo>
                  <a:cubicBezTo>
                    <a:pt x="2" y="8"/>
                    <a:pt x="6" y="9"/>
                    <a:pt x="7" y="9"/>
                  </a:cubicBezTo>
                  <a:cubicBezTo>
                    <a:pt x="8" y="9"/>
                    <a:pt x="10" y="9"/>
                    <a:pt x="12" y="9"/>
                  </a:cubicBezTo>
                  <a:cubicBezTo>
                    <a:pt x="13" y="8"/>
                    <a:pt x="14" y="8"/>
                    <a:pt x="15" y="8"/>
                  </a:cubicBezTo>
                  <a:cubicBezTo>
                    <a:pt x="17" y="8"/>
                    <a:pt x="22" y="9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8"/>
                    <a:pt x="21" y="6"/>
                    <a:pt x="20" y="5"/>
                  </a:cubicBezTo>
                  <a:cubicBezTo>
                    <a:pt x="19" y="5"/>
                    <a:pt x="19" y="4"/>
                    <a:pt x="18" y="4"/>
                  </a:cubicBezTo>
                  <a:cubicBezTo>
                    <a:pt x="18" y="3"/>
                    <a:pt x="18" y="2"/>
                    <a:pt x="18" y="1"/>
                  </a:cubicBezTo>
                  <a:cubicBezTo>
                    <a:pt x="18" y="1"/>
                    <a:pt x="19" y="1"/>
                    <a:pt x="1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0D9A0D35-1025-4C7A-B53C-3D092AE068A6}"/>
              </a:ext>
            </a:extLst>
          </p:cNvPr>
          <p:cNvGrpSpPr/>
          <p:nvPr/>
        </p:nvGrpSpPr>
        <p:grpSpPr>
          <a:xfrm>
            <a:off x="10279411" y="6936439"/>
            <a:ext cx="466434" cy="482021"/>
            <a:chOff x="2865437" y="2032001"/>
            <a:chExt cx="633413" cy="638567"/>
          </a:xfrm>
          <a:solidFill>
            <a:srgbClr val="F40009"/>
          </a:solidFill>
        </p:grpSpPr>
        <p:sp>
          <p:nvSpPr>
            <p:cNvPr id="59" name="Freeform 171">
              <a:extLst>
                <a:ext uri="{FF2B5EF4-FFF2-40B4-BE49-F238E27FC236}">
                  <a16:creationId xmlns:a16="http://schemas.microsoft.com/office/drawing/2014/main" id="{07157CCD-A598-487C-8032-4B607DF7F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5437" y="2053030"/>
              <a:ext cx="633413" cy="617538"/>
            </a:xfrm>
            <a:custGeom>
              <a:avLst/>
              <a:gdLst>
                <a:gd name="T0" fmla="*/ 66 w 161"/>
                <a:gd name="T1" fmla="*/ 157 h 157"/>
                <a:gd name="T2" fmla="*/ 29 w 161"/>
                <a:gd name="T3" fmla="*/ 148 h 157"/>
                <a:gd name="T4" fmla="*/ 4 w 161"/>
                <a:gd name="T5" fmla="*/ 116 h 157"/>
                <a:gd name="T6" fmla="*/ 2 w 161"/>
                <a:gd name="T7" fmla="*/ 78 h 157"/>
                <a:gd name="T8" fmla="*/ 36 w 161"/>
                <a:gd name="T9" fmla="*/ 28 h 157"/>
                <a:gd name="T10" fmla="*/ 69 w 161"/>
                <a:gd name="T11" fmla="*/ 7 h 157"/>
                <a:gd name="T12" fmla="*/ 109 w 161"/>
                <a:gd name="T13" fmla="*/ 5 h 157"/>
                <a:gd name="T14" fmla="*/ 146 w 161"/>
                <a:gd name="T15" fmla="*/ 40 h 157"/>
                <a:gd name="T16" fmla="*/ 159 w 161"/>
                <a:gd name="T17" fmla="*/ 92 h 157"/>
                <a:gd name="T18" fmla="*/ 149 w 161"/>
                <a:gd name="T19" fmla="*/ 121 h 157"/>
                <a:gd name="T20" fmla="*/ 117 w 161"/>
                <a:gd name="T21" fmla="*/ 147 h 157"/>
                <a:gd name="T22" fmla="*/ 87 w 161"/>
                <a:gd name="T23" fmla="*/ 156 h 157"/>
                <a:gd name="T24" fmla="*/ 29 w 161"/>
                <a:gd name="T25" fmla="*/ 127 h 157"/>
                <a:gd name="T26" fmla="*/ 46 w 161"/>
                <a:gd name="T27" fmla="*/ 138 h 157"/>
                <a:gd name="T28" fmla="*/ 63 w 161"/>
                <a:gd name="T29" fmla="*/ 143 h 157"/>
                <a:gd name="T30" fmla="*/ 57 w 161"/>
                <a:gd name="T31" fmla="*/ 127 h 157"/>
                <a:gd name="T32" fmla="*/ 48 w 161"/>
                <a:gd name="T33" fmla="*/ 116 h 157"/>
                <a:gd name="T34" fmla="*/ 32 w 161"/>
                <a:gd name="T35" fmla="*/ 98 h 157"/>
                <a:gd name="T36" fmla="*/ 58 w 161"/>
                <a:gd name="T37" fmla="*/ 94 h 157"/>
                <a:gd name="T38" fmla="*/ 63 w 161"/>
                <a:gd name="T39" fmla="*/ 87 h 157"/>
                <a:gd name="T40" fmla="*/ 75 w 161"/>
                <a:gd name="T41" fmla="*/ 65 h 157"/>
                <a:gd name="T42" fmla="*/ 43 w 161"/>
                <a:gd name="T43" fmla="*/ 63 h 157"/>
                <a:gd name="T44" fmla="*/ 49 w 161"/>
                <a:gd name="T45" fmla="*/ 34 h 157"/>
                <a:gd name="T46" fmla="*/ 42 w 161"/>
                <a:gd name="T47" fmla="*/ 27 h 157"/>
                <a:gd name="T48" fmla="*/ 5 w 161"/>
                <a:gd name="T49" fmla="*/ 79 h 157"/>
                <a:gd name="T50" fmla="*/ 10 w 161"/>
                <a:gd name="T51" fmla="*/ 89 h 157"/>
                <a:gd name="T52" fmla="*/ 17 w 161"/>
                <a:gd name="T53" fmla="*/ 98 h 157"/>
                <a:gd name="T54" fmla="*/ 126 w 161"/>
                <a:gd name="T55" fmla="*/ 19 h 157"/>
                <a:gd name="T56" fmla="*/ 110 w 161"/>
                <a:gd name="T57" fmla="*/ 25 h 157"/>
                <a:gd name="T58" fmla="*/ 105 w 161"/>
                <a:gd name="T59" fmla="*/ 32 h 157"/>
                <a:gd name="T60" fmla="*/ 127 w 161"/>
                <a:gd name="T61" fmla="*/ 48 h 157"/>
                <a:gd name="T62" fmla="*/ 108 w 161"/>
                <a:gd name="T63" fmla="*/ 54 h 157"/>
                <a:gd name="T64" fmla="*/ 101 w 161"/>
                <a:gd name="T65" fmla="*/ 65 h 157"/>
                <a:gd name="T66" fmla="*/ 111 w 161"/>
                <a:gd name="T67" fmla="*/ 69 h 157"/>
                <a:gd name="T68" fmla="*/ 125 w 161"/>
                <a:gd name="T69" fmla="*/ 65 h 157"/>
                <a:gd name="T70" fmla="*/ 134 w 161"/>
                <a:gd name="T71" fmla="*/ 79 h 157"/>
                <a:gd name="T72" fmla="*/ 105 w 161"/>
                <a:gd name="T73" fmla="*/ 87 h 157"/>
                <a:gd name="T74" fmla="*/ 116 w 161"/>
                <a:gd name="T75" fmla="*/ 108 h 157"/>
                <a:gd name="T76" fmla="*/ 120 w 161"/>
                <a:gd name="T77" fmla="*/ 134 h 157"/>
                <a:gd name="T78" fmla="*/ 130 w 161"/>
                <a:gd name="T79" fmla="*/ 125 h 157"/>
                <a:gd name="T80" fmla="*/ 144 w 161"/>
                <a:gd name="T81" fmla="*/ 103 h 157"/>
                <a:gd name="T82" fmla="*/ 145 w 161"/>
                <a:gd name="T83" fmla="*/ 84 h 157"/>
                <a:gd name="T84" fmla="*/ 96 w 161"/>
                <a:gd name="T85" fmla="*/ 66 h 157"/>
                <a:gd name="T86" fmla="*/ 104 w 161"/>
                <a:gd name="T87" fmla="*/ 51 h 157"/>
                <a:gd name="T88" fmla="*/ 84 w 161"/>
                <a:gd name="T89" fmla="*/ 43 h 157"/>
                <a:gd name="T90" fmla="*/ 62 w 161"/>
                <a:gd name="T91" fmla="*/ 43 h 157"/>
                <a:gd name="T92" fmla="*/ 48 w 161"/>
                <a:gd name="T93" fmla="*/ 57 h 157"/>
                <a:gd name="T94" fmla="*/ 69 w 161"/>
                <a:gd name="T95" fmla="*/ 53 h 157"/>
                <a:gd name="T96" fmla="*/ 98 w 161"/>
                <a:gd name="T97" fmla="*/ 5 h 157"/>
                <a:gd name="T98" fmla="*/ 68 w 161"/>
                <a:gd name="T99" fmla="*/ 24 h 157"/>
                <a:gd name="T100" fmla="*/ 81 w 161"/>
                <a:gd name="T101" fmla="*/ 15 h 157"/>
                <a:gd name="T102" fmla="*/ 22 w 161"/>
                <a:gd name="T103" fmla="*/ 139 h 157"/>
                <a:gd name="T104" fmla="*/ 6 w 161"/>
                <a:gd name="T105" fmla="*/ 109 h 157"/>
                <a:gd name="T106" fmla="*/ 22 w 161"/>
                <a:gd name="T107" fmla="*/ 139 h 157"/>
                <a:gd name="T108" fmla="*/ 70 w 161"/>
                <a:gd name="T109" fmla="*/ 128 h 157"/>
                <a:gd name="T110" fmla="*/ 126 w 161"/>
                <a:gd name="T111" fmla="*/ 139 h 157"/>
                <a:gd name="T112" fmla="*/ 103 w 161"/>
                <a:gd name="T113" fmla="*/ 75 h 157"/>
                <a:gd name="T114" fmla="*/ 66 w 161"/>
                <a:gd name="T115" fmla="*/ 91 h 157"/>
                <a:gd name="T116" fmla="*/ 131 w 161"/>
                <a:gd name="T117" fmla="*/ 135 h 157"/>
                <a:gd name="T118" fmla="*/ 70 w 161"/>
                <a:gd name="T119" fmla="*/ 153 h 157"/>
                <a:gd name="T120" fmla="*/ 50 w 161"/>
                <a:gd name="T121" fmla="*/ 96 h 157"/>
                <a:gd name="T122" fmla="*/ 150 w 161"/>
                <a:gd name="T123" fmla="*/ 101 h 157"/>
                <a:gd name="T124" fmla="*/ 48 w 161"/>
                <a:gd name="T125" fmla="*/ 23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" h="157">
                  <a:moveTo>
                    <a:pt x="87" y="156"/>
                  </a:moveTo>
                  <a:cubicBezTo>
                    <a:pt x="86" y="155"/>
                    <a:pt x="86" y="155"/>
                    <a:pt x="85" y="155"/>
                  </a:cubicBezTo>
                  <a:cubicBezTo>
                    <a:pt x="82" y="155"/>
                    <a:pt x="79" y="156"/>
                    <a:pt x="76" y="156"/>
                  </a:cubicBezTo>
                  <a:cubicBezTo>
                    <a:pt x="75" y="156"/>
                    <a:pt x="73" y="156"/>
                    <a:pt x="72" y="156"/>
                  </a:cubicBezTo>
                  <a:cubicBezTo>
                    <a:pt x="70" y="156"/>
                    <a:pt x="69" y="157"/>
                    <a:pt x="67" y="157"/>
                  </a:cubicBezTo>
                  <a:cubicBezTo>
                    <a:pt x="67" y="157"/>
                    <a:pt x="67" y="157"/>
                    <a:pt x="66" y="157"/>
                  </a:cubicBezTo>
                  <a:cubicBezTo>
                    <a:pt x="65" y="157"/>
                    <a:pt x="63" y="157"/>
                    <a:pt x="62" y="157"/>
                  </a:cubicBezTo>
                  <a:cubicBezTo>
                    <a:pt x="59" y="156"/>
                    <a:pt x="57" y="156"/>
                    <a:pt x="54" y="156"/>
                  </a:cubicBezTo>
                  <a:cubicBezTo>
                    <a:pt x="52" y="156"/>
                    <a:pt x="50" y="155"/>
                    <a:pt x="48" y="155"/>
                  </a:cubicBezTo>
                  <a:cubicBezTo>
                    <a:pt x="45" y="154"/>
                    <a:pt x="43" y="154"/>
                    <a:pt x="41" y="153"/>
                  </a:cubicBezTo>
                  <a:cubicBezTo>
                    <a:pt x="39" y="152"/>
                    <a:pt x="37" y="151"/>
                    <a:pt x="35" y="150"/>
                  </a:cubicBezTo>
                  <a:cubicBezTo>
                    <a:pt x="33" y="150"/>
                    <a:pt x="31" y="149"/>
                    <a:pt x="29" y="148"/>
                  </a:cubicBezTo>
                  <a:cubicBezTo>
                    <a:pt x="27" y="146"/>
                    <a:pt x="25" y="145"/>
                    <a:pt x="23" y="143"/>
                  </a:cubicBezTo>
                  <a:cubicBezTo>
                    <a:pt x="21" y="142"/>
                    <a:pt x="20" y="141"/>
                    <a:pt x="18" y="139"/>
                  </a:cubicBezTo>
                  <a:cubicBezTo>
                    <a:pt x="17" y="138"/>
                    <a:pt x="16" y="137"/>
                    <a:pt x="15" y="135"/>
                  </a:cubicBezTo>
                  <a:cubicBezTo>
                    <a:pt x="14" y="134"/>
                    <a:pt x="13" y="133"/>
                    <a:pt x="12" y="131"/>
                  </a:cubicBezTo>
                  <a:cubicBezTo>
                    <a:pt x="10" y="129"/>
                    <a:pt x="9" y="127"/>
                    <a:pt x="8" y="125"/>
                  </a:cubicBezTo>
                  <a:cubicBezTo>
                    <a:pt x="7" y="122"/>
                    <a:pt x="5" y="119"/>
                    <a:pt x="4" y="116"/>
                  </a:cubicBezTo>
                  <a:cubicBezTo>
                    <a:pt x="3" y="113"/>
                    <a:pt x="2" y="110"/>
                    <a:pt x="1" y="106"/>
                  </a:cubicBezTo>
                  <a:cubicBezTo>
                    <a:pt x="1" y="105"/>
                    <a:pt x="1" y="105"/>
                    <a:pt x="1" y="104"/>
                  </a:cubicBezTo>
                  <a:cubicBezTo>
                    <a:pt x="1" y="101"/>
                    <a:pt x="1" y="98"/>
                    <a:pt x="1" y="95"/>
                  </a:cubicBezTo>
                  <a:cubicBezTo>
                    <a:pt x="0" y="94"/>
                    <a:pt x="0" y="92"/>
                    <a:pt x="0" y="90"/>
                  </a:cubicBezTo>
                  <a:cubicBezTo>
                    <a:pt x="0" y="88"/>
                    <a:pt x="1" y="85"/>
                    <a:pt x="1" y="83"/>
                  </a:cubicBezTo>
                  <a:cubicBezTo>
                    <a:pt x="1" y="82"/>
                    <a:pt x="1" y="80"/>
                    <a:pt x="2" y="78"/>
                  </a:cubicBezTo>
                  <a:cubicBezTo>
                    <a:pt x="2" y="76"/>
                    <a:pt x="3" y="74"/>
                    <a:pt x="3" y="72"/>
                  </a:cubicBezTo>
                  <a:cubicBezTo>
                    <a:pt x="4" y="69"/>
                    <a:pt x="5" y="66"/>
                    <a:pt x="7" y="62"/>
                  </a:cubicBezTo>
                  <a:cubicBezTo>
                    <a:pt x="7" y="61"/>
                    <a:pt x="8" y="60"/>
                    <a:pt x="9" y="59"/>
                  </a:cubicBezTo>
                  <a:cubicBezTo>
                    <a:pt x="11" y="55"/>
                    <a:pt x="13" y="51"/>
                    <a:pt x="16" y="47"/>
                  </a:cubicBezTo>
                  <a:cubicBezTo>
                    <a:pt x="18" y="45"/>
                    <a:pt x="20" y="42"/>
                    <a:pt x="22" y="40"/>
                  </a:cubicBezTo>
                  <a:cubicBezTo>
                    <a:pt x="27" y="36"/>
                    <a:pt x="31" y="32"/>
                    <a:pt x="36" y="28"/>
                  </a:cubicBezTo>
                  <a:cubicBezTo>
                    <a:pt x="38" y="26"/>
                    <a:pt x="40" y="25"/>
                    <a:pt x="42" y="23"/>
                  </a:cubicBezTo>
                  <a:cubicBezTo>
                    <a:pt x="45" y="22"/>
                    <a:pt x="47" y="20"/>
                    <a:pt x="49" y="18"/>
                  </a:cubicBezTo>
                  <a:cubicBezTo>
                    <a:pt x="50" y="17"/>
                    <a:pt x="52" y="17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6" y="13"/>
                    <a:pt x="59" y="13"/>
                    <a:pt x="62" y="11"/>
                  </a:cubicBezTo>
                  <a:cubicBezTo>
                    <a:pt x="64" y="9"/>
                    <a:pt x="67" y="8"/>
                    <a:pt x="69" y="7"/>
                  </a:cubicBezTo>
                  <a:cubicBezTo>
                    <a:pt x="73" y="6"/>
                    <a:pt x="77" y="4"/>
                    <a:pt x="80" y="3"/>
                  </a:cubicBezTo>
                  <a:cubicBezTo>
                    <a:pt x="82" y="2"/>
                    <a:pt x="84" y="1"/>
                    <a:pt x="87" y="0"/>
                  </a:cubicBezTo>
                  <a:cubicBezTo>
                    <a:pt x="88" y="0"/>
                    <a:pt x="90" y="1"/>
                    <a:pt x="92" y="1"/>
                  </a:cubicBezTo>
                  <a:cubicBezTo>
                    <a:pt x="94" y="2"/>
                    <a:pt x="96" y="3"/>
                    <a:pt x="98" y="3"/>
                  </a:cubicBezTo>
                  <a:cubicBezTo>
                    <a:pt x="100" y="4"/>
                    <a:pt x="101" y="4"/>
                    <a:pt x="103" y="4"/>
                  </a:cubicBezTo>
                  <a:cubicBezTo>
                    <a:pt x="105" y="4"/>
                    <a:pt x="107" y="5"/>
                    <a:pt x="109" y="5"/>
                  </a:cubicBezTo>
                  <a:cubicBezTo>
                    <a:pt x="113" y="6"/>
                    <a:pt x="118" y="9"/>
                    <a:pt x="122" y="11"/>
                  </a:cubicBezTo>
                  <a:cubicBezTo>
                    <a:pt x="125" y="13"/>
                    <a:pt x="128" y="15"/>
                    <a:pt x="131" y="18"/>
                  </a:cubicBezTo>
                  <a:cubicBezTo>
                    <a:pt x="133" y="19"/>
                    <a:pt x="134" y="21"/>
                    <a:pt x="135" y="23"/>
                  </a:cubicBezTo>
                  <a:cubicBezTo>
                    <a:pt x="136" y="24"/>
                    <a:pt x="137" y="25"/>
                    <a:pt x="138" y="26"/>
                  </a:cubicBezTo>
                  <a:cubicBezTo>
                    <a:pt x="139" y="28"/>
                    <a:pt x="141" y="30"/>
                    <a:pt x="142" y="33"/>
                  </a:cubicBezTo>
                  <a:cubicBezTo>
                    <a:pt x="144" y="35"/>
                    <a:pt x="145" y="37"/>
                    <a:pt x="146" y="40"/>
                  </a:cubicBezTo>
                  <a:cubicBezTo>
                    <a:pt x="148" y="44"/>
                    <a:pt x="149" y="47"/>
                    <a:pt x="151" y="51"/>
                  </a:cubicBezTo>
                  <a:cubicBezTo>
                    <a:pt x="152" y="54"/>
                    <a:pt x="153" y="56"/>
                    <a:pt x="154" y="59"/>
                  </a:cubicBezTo>
                  <a:cubicBezTo>
                    <a:pt x="155" y="62"/>
                    <a:pt x="156" y="66"/>
                    <a:pt x="157" y="69"/>
                  </a:cubicBezTo>
                  <a:cubicBezTo>
                    <a:pt x="158" y="75"/>
                    <a:pt x="159" y="80"/>
                    <a:pt x="159" y="86"/>
                  </a:cubicBezTo>
                  <a:cubicBezTo>
                    <a:pt x="159" y="87"/>
                    <a:pt x="159" y="89"/>
                    <a:pt x="159" y="91"/>
                  </a:cubicBezTo>
                  <a:cubicBezTo>
                    <a:pt x="159" y="91"/>
                    <a:pt x="159" y="92"/>
                    <a:pt x="159" y="92"/>
                  </a:cubicBezTo>
                  <a:cubicBezTo>
                    <a:pt x="161" y="94"/>
                    <a:pt x="161" y="95"/>
                    <a:pt x="159" y="96"/>
                  </a:cubicBezTo>
                  <a:cubicBezTo>
                    <a:pt x="158" y="98"/>
                    <a:pt x="158" y="99"/>
                    <a:pt x="158" y="100"/>
                  </a:cubicBezTo>
                  <a:cubicBezTo>
                    <a:pt x="157" y="103"/>
                    <a:pt x="157" y="105"/>
                    <a:pt x="156" y="107"/>
                  </a:cubicBezTo>
                  <a:cubicBezTo>
                    <a:pt x="155" y="109"/>
                    <a:pt x="154" y="111"/>
                    <a:pt x="153" y="114"/>
                  </a:cubicBezTo>
                  <a:cubicBezTo>
                    <a:pt x="152" y="116"/>
                    <a:pt x="151" y="118"/>
                    <a:pt x="150" y="119"/>
                  </a:cubicBezTo>
                  <a:cubicBezTo>
                    <a:pt x="149" y="120"/>
                    <a:pt x="149" y="121"/>
                    <a:pt x="149" y="121"/>
                  </a:cubicBezTo>
                  <a:cubicBezTo>
                    <a:pt x="149" y="121"/>
                    <a:pt x="149" y="122"/>
                    <a:pt x="149" y="122"/>
                  </a:cubicBezTo>
                  <a:cubicBezTo>
                    <a:pt x="146" y="124"/>
                    <a:pt x="144" y="127"/>
                    <a:pt x="142" y="129"/>
                  </a:cubicBezTo>
                  <a:cubicBezTo>
                    <a:pt x="141" y="130"/>
                    <a:pt x="140" y="131"/>
                    <a:pt x="139" y="133"/>
                  </a:cubicBezTo>
                  <a:cubicBezTo>
                    <a:pt x="135" y="137"/>
                    <a:pt x="131" y="140"/>
                    <a:pt x="127" y="142"/>
                  </a:cubicBezTo>
                  <a:cubicBezTo>
                    <a:pt x="125" y="143"/>
                    <a:pt x="124" y="144"/>
                    <a:pt x="122" y="145"/>
                  </a:cubicBezTo>
                  <a:cubicBezTo>
                    <a:pt x="120" y="146"/>
                    <a:pt x="119" y="146"/>
                    <a:pt x="117" y="147"/>
                  </a:cubicBezTo>
                  <a:cubicBezTo>
                    <a:pt x="115" y="148"/>
                    <a:pt x="113" y="148"/>
                    <a:pt x="111" y="149"/>
                  </a:cubicBezTo>
                  <a:cubicBezTo>
                    <a:pt x="108" y="150"/>
                    <a:pt x="104" y="150"/>
                    <a:pt x="101" y="151"/>
                  </a:cubicBezTo>
                  <a:cubicBezTo>
                    <a:pt x="100" y="151"/>
                    <a:pt x="100" y="152"/>
                    <a:pt x="99" y="152"/>
                  </a:cubicBezTo>
                  <a:cubicBezTo>
                    <a:pt x="98" y="153"/>
                    <a:pt x="97" y="153"/>
                    <a:pt x="95" y="153"/>
                  </a:cubicBezTo>
                  <a:cubicBezTo>
                    <a:pt x="93" y="153"/>
                    <a:pt x="90" y="154"/>
                    <a:pt x="87" y="155"/>
                  </a:cubicBezTo>
                  <a:cubicBezTo>
                    <a:pt x="87" y="155"/>
                    <a:pt x="87" y="155"/>
                    <a:pt x="87" y="156"/>
                  </a:cubicBezTo>
                  <a:close/>
                  <a:moveTo>
                    <a:pt x="32" y="111"/>
                  </a:moveTo>
                  <a:cubicBezTo>
                    <a:pt x="32" y="111"/>
                    <a:pt x="32" y="111"/>
                    <a:pt x="31" y="111"/>
                  </a:cubicBezTo>
                  <a:cubicBezTo>
                    <a:pt x="32" y="112"/>
                    <a:pt x="32" y="112"/>
                    <a:pt x="32" y="113"/>
                  </a:cubicBezTo>
                  <a:cubicBezTo>
                    <a:pt x="33" y="113"/>
                    <a:pt x="34" y="114"/>
                    <a:pt x="33" y="115"/>
                  </a:cubicBezTo>
                  <a:cubicBezTo>
                    <a:pt x="32" y="116"/>
                    <a:pt x="32" y="116"/>
                    <a:pt x="31" y="116"/>
                  </a:cubicBezTo>
                  <a:cubicBezTo>
                    <a:pt x="29" y="119"/>
                    <a:pt x="27" y="124"/>
                    <a:pt x="29" y="127"/>
                  </a:cubicBezTo>
                  <a:cubicBezTo>
                    <a:pt x="30" y="129"/>
                    <a:pt x="31" y="132"/>
                    <a:pt x="32" y="133"/>
                  </a:cubicBezTo>
                  <a:cubicBezTo>
                    <a:pt x="33" y="136"/>
                    <a:pt x="35" y="136"/>
                    <a:pt x="37" y="135"/>
                  </a:cubicBezTo>
                  <a:cubicBezTo>
                    <a:pt x="38" y="134"/>
                    <a:pt x="38" y="134"/>
                    <a:pt x="39" y="134"/>
                  </a:cubicBezTo>
                  <a:cubicBezTo>
                    <a:pt x="41" y="134"/>
                    <a:pt x="42" y="134"/>
                    <a:pt x="44" y="134"/>
                  </a:cubicBezTo>
                  <a:cubicBezTo>
                    <a:pt x="44" y="134"/>
                    <a:pt x="45" y="134"/>
                    <a:pt x="45" y="135"/>
                  </a:cubicBezTo>
                  <a:cubicBezTo>
                    <a:pt x="45" y="136"/>
                    <a:pt x="46" y="137"/>
                    <a:pt x="46" y="138"/>
                  </a:cubicBezTo>
                  <a:cubicBezTo>
                    <a:pt x="46" y="139"/>
                    <a:pt x="47" y="139"/>
                    <a:pt x="48" y="140"/>
                  </a:cubicBezTo>
                  <a:cubicBezTo>
                    <a:pt x="51" y="142"/>
                    <a:pt x="54" y="144"/>
                    <a:pt x="56" y="147"/>
                  </a:cubicBezTo>
                  <a:cubicBezTo>
                    <a:pt x="58" y="149"/>
                    <a:pt x="60" y="151"/>
                    <a:pt x="62" y="153"/>
                  </a:cubicBezTo>
                  <a:cubicBezTo>
                    <a:pt x="62" y="153"/>
                    <a:pt x="63" y="153"/>
                    <a:pt x="64" y="153"/>
                  </a:cubicBezTo>
                  <a:cubicBezTo>
                    <a:pt x="65" y="153"/>
                    <a:pt x="65" y="152"/>
                    <a:pt x="65" y="151"/>
                  </a:cubicBezTo>
                  <a:cubicBezTo>
                    <a:pt x="64" y="148"/>
                    <a:pt x="64" y="146"/>
                    <a:pt x="63" y="143"/>
                  </a:cubicBezTo>
                  <a:cubicBezTo>
                    <a:pt x="62" y="141"/>
                    <a:pt x="63" y="138"/>
                    <a:pt x="65" y="137"/>
                  </a:cubicBezTo>
                  <a:cubicBezTo>
                    <a:pt x="66" y="136"/>
                    <a:pt x="67" y="135"/>
                    <a:pt x="68" y="133"/>
                  </a:cubicBezTo>
                  <a:cubicBezTo>
                    <a:pt x="69" y="132"/>
                    <a:pt x="68" y="130"/>
                    <a:pt x="66" y="130"/>
                  </a:cubicBezTo>
                  <a:cubicBezTo>
                    <a:pt x="65" y="130"/>
                    <a:pt x="64" y="131"/>
                    <a:pt x="63" y="131"/>
                  </a:cubicBezTo>
                  <a:cubicBezTo>
                    <a:pt x="62" y="131"/>
                    <a:pt x="60" y="130"/>
                    <a:pt x="59" y="130"/>
                  </a:cubicBezTo>
                  <a:cubicBezTo>
                    <a:pt x="58" y="130"/>
                    <a:pt x="57" y="129"/>
                    <a:pt x="57" y="127"/>
                  </a:cubicBezTo>
                  <a:cubicBezTo>
                    <a:pt x="57" y="125"/>
                    <a:pt x="58" y="123"/>
                    <a:pt x="58" y="121"/>
                  </a:cubicBezTo>
                  <a:cubicBezTo>
                    <a:pt x="58" y="120"/>
                    <a:pt x="58" y="120"/>
                    <a:pt x="58" y="119"/>
                  </a:cubicBezTo>
                  <a:cubicBezTo>
                    <a:pt x="57" y="119"/>
                    <a:pt x="57" y="118"/>
                    <a:pt x="57" y="118"/>
                  </a:cubicBezTo>
                  <a:cubicBezTo>
                    <a:pt x="56" y="117"/>
                    <a:pt x="56" y="116"/>
                    <a:pt x="54" y="117"/>
                  </a:cubicBezTo>
                  <a:cubicBezTo>
                    <a:pt x="54" y="117"/>
                    <a:pt x="53" y="117"/>
                    <a:pt x="53" y="117"/>
                  </a:cubicBezTo>
                  <a:cubicBezTo>
                    <a:pt x="51" y="116"/>
                    <a:pt x="50" y="116"/>
                    <a:pt x="48" y="116"/>
                  </a:cubicBezTo>
                  <a:cubicBezTo>
                    <a:pt x="46" y="116"/>
                    <a:pt x="44" y="115"/>
                    <a:pt x="43" y="115"/>
                  </a:cubicBezTo>
                  <a:cubicBezTo>
                    <a:pt x="40" y="113"/>
                    <a:pt x="37" y="111"/>
                    <a:pt x="36" y="108"/>
                  </a:cubicBezTo>
                  <a:cubicBezTo>
                    <a:pt x="35" y="106"/>
                    <a:pt x="35" y="105"/>
                    <a:pt x="34" y="104"/>
                  </a:cubicBezTo>
                  <a:cubicBezTo>
                    <a:pt x="34" y="103"/>
                    <a:pt x="34" y="103"/>
                    <a:pt x="34" y="102"/>
                  </a:cubicBezTo>
                  <a:cubicBezTo>
                    <a:pt x="34" y="102"/>
                    <a:pt x="34" y="102"/>
                    <a:pt x="33" y="102"/>
                  </a:cubicBezTo>
                  <a:cubicBezTo>
                    <a:pt x="33" y="100"/>
                    <a:pt x="32" y="99"/>
                    <a:pt x="32" y="98"/>
                  </a:cubicBezTo>
                  <a:cubicBezTo>
                    <a:pt x="32" y="96"/>
                    <a:pt x="33" y="93"/>
                    <a:pt x="35" y="92"/>
                  </a:cubicBezTo>
                  <a:cubicBezTo>
                    <a:pt x="35" y="91"/>
                    <a:pt x="35" y="91"/>
                    <a:pt x="35" y="91"/>
                  </a:cubicBezTo>
                  <a:cubicBezTo>
                    <a:pt x="38" y="87"/>
                    <a:pt x="43" y="86"/>
                    <a:pt x="47" y="89"/>
                  </a:cubicBezTo>
                  <a:cubicBezTo>
                    <a:pt x="48" y="90"/>
                    <a:pt x="49" y="90"/>
                    <a:pt x="50" y="91"/>
                  </a:cubicBezTo>
                  <a:cubicBezTo>
                    <a:pt x="52" y="92"/>
                    <a:pt x="53" y="93"/>
                    <a:pt x="55" y="93"/>
                  </a:cubicBezTo>
                  <a:cubicBezTo>
                    <a:pt x="56" y="94"/>
                    <a:pt x="57" y="94"/>
                    <a:pt x="58" y="94"/>
                  </a:cubicBezTo>
                  <a:cubicBezTo>
                    <a:pt x="58" y="94"/>
                    <a:pt x="58" y="93"/>
                    <a:pt x="58" y="93"/>
                  </a:cubicBezTo>
                  <a:cubicBezTo>
                    <a:pt x="59" y="94"/>
                    <a:pt x="60" y="95"/>
                    <a:pt x="61" y="95"/>
                  </a:cubicBezTo>
                  <a:cubicBezTo>
                    <a:pt x="61" y="95"/>
                    <a:pt x="62" y="95"/>
                    <a:pt x="62" y="95"/>
                  </a:cubicBezTo>
                  <a:cubicBezTo>
                    <a:pt x="62" y="95"/>
                    <a:pt x="62" y="95"/>
                    <a:pt x="62" y="94"/>
                  </a:cubicBezTo>
                  <a:cubicBezTo>
                    <a:pt x="62" y="92"/>
                    <a:pt x="61" y="91"/>
                    <a:pt x="63" y="89"/>
                  </a:cubicBezTo>
                  <a:cubicBezTo>
                    <a:pt x="64" y="89"/>
                    <a:pt x="64" y="88"/>
                    <a:pt x="63" y="87"/>
                  </a:cubicBezTo>
                  <a:cubicBezTo>
                    <a:pt x="62" y="85"/>
                    <a:pt x="61" y="84"/>
                    <a:pt x="61" y="83"/>
                  </a:cubicBezTo>
                  <a:cubicBezTo>
                    <a:pt x="61" y="81"/>
                    <a:pt x="60" y="80"/>
                    <a:pt x="61" y="79"/>
                  </a:cubicBezTo>
                  <a:cubicBezTo>
                    <a:pt x="61" y="77"/>
                    <a:pt x="63" y="76"/>
                    <a:pt x="64" y="76"/>
                  </a:cubicBezTo>
                  <a:cubicBezTo>
                    <a:pt x="66" y="75"/>
                    <a:pt x="67" y="74"/>
                    <a:pt x="69" y="73"/>
                  </a:cubicBezTo>
                  <a:cubicBezTo>
                    <a:pt x="71" y="71"/>
                    <a:pt x="72" y="70"/>
                    <a:pt x="74" y="68"/>
                  </a:cubicBezTo>
                  <a:cubicBezTo>
                    <a:pt x="74" y="67"/>
                    <a:pt x="75" y="66"/>
                    <a:pt x="75" y="65"/>
                  </a:cubicBezTo>
                  <a:cubicBezTo>
                    <a:pt x="75" y="62"/>
                    <a:pt x="74" y="60"/>
                    <a:pt x="72" y="59"/>
                  </a:cubicBezTo>
                  <a:cubicBezTo>
                    <a:pt x="70" y="58"/>
                    <a:pt x="68" y="57"/>
                    <a:pt x="65" y="56"/>
                  </a:cubicBezTo>
                  <a:cubicBezTo>
                    <a:pt x="64" y="57"/>
                    <a:pt x="63" y="58"/>
                    <a:pt x="62" y="59"/>
                  </a:cubicBezTo>
                  <a:cubicBezTo>
                    <a:pt x="60" y="61"/>
                    <a:pt x="57" y="63"/>
                    <a:pt x="55" y="65"/>
                  </a:cubicBezTo>
                  <a:cubicBezTo>
                    <a:pt x="51" y="67"/>
                    <a:pt x="47" y="68"/>
                    <a:pt x="43" y="64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1"/>
                    <a:pt x="43" y="59"/>
                    <a:pt x="44" y="58"/>
                  </a:cubicBezTo>
                  <a:cubicBezTo>
                    <a:pt x="45" y="56"/>
                    <a:pt x="45" y="54"/>
                    <a:pt x="44" y="53"/>
                  </a:cubicBezTo>
                  <a:cubicBezTo>
                    <a:pt x="42" y="51"/>
                    <a:pt x="43" y="49"/>
                    <a:pt x="43" y="48"/>
                  </a:cubicBezTo>
                  <a:cubicBezTo>
                    <a:pt x="44" y="46"/>
                    <a:pt x="45" y="43"/>
                    <a:pt x="47" y="42"/>
                  </a:cubicBezTo>
                  <a:cubicBezTo>
                    <a:pt x="49" y="40"/>
                    <a:pt x="50" y="37"/>
                    <a:pt x="50" y="35"/>
                  </a:cubicBezTo>
                  <a:cubicBezTo>
                    <a:pt x="50" y="34"/>
                    <a:pt x="50" y="34"/>
                    <a:pt x="49" y="34"/>
                  </a:cubicBezTo>
                  <a:cubicBezTo>
                    <a:pt x="48" y="33"/>
                    <a:pt x="47" y="33"/>
                    <a:pt x="46" y="33"/>
                  </a:cubicBezTo>
                  <a:cubicBezTo>
                    <a:pt x="45" y="33"/>
                    <a:pt x="43" y="34"/>
                    <a:pt x="42" y="34"/>
                  </a:cubicBezTo>
                  <a:cubicBezTo>
                    <a:pt x="42" y="32"/>
                    <a:pt x="44" y="32"/>
                    <a:pt x="44" y="31"/>
                  </a:cubicBezTo>
                  <a:cubicBezTo>
                    <a:pt x="44" y="30"/>
                    <a:pt x="43" y="29"/>
                    <a:pt x="43" y="29"/>
                  </a:cubicBezTo>
                  <a:cubicBezTo>
                    <a:pt x="41" y="27"/>
                    <a:pt x="44" y="27"/>
                    <a:pt x="44" y="26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39" y="29"/>
                    <a:pt x="36" y="32"/>
                    <a:pt x="33" y="34"/>
                  </a:cubicBezTo>
                  <a:cubicBezTo>
                    <a:pt x="30" y="37"/>
                    <a:pt x="27" y="40"/>
                    <a:pt x="24" y="43"/>
                  </a:cubicBezTo>
                  <a:cubicBezTo>
                    <a:pt x="21" y="45"/>
                    <a:pt x="19" y="48"/>
                    <a:pt x="17" y="50"/>
                  </a:cubicBezTo>
                  <a:cubicBezTo>
                    <a:pt x="16" y="53"/>
                    <a:pt x="14" y="56"/>
                    <a:pt x="13" y="58"/>
                  </a:cubicBezTo>
                  <a:cubicBezTo>
                    <a:pt x="11" y="61"/>
                    <a:pt x="9" y="63"/>
                    <a:pt x="8" y="66"/>
                  </a:cubicBezTo>
                  <a:cubicBezTo>
                    <a:pt x="7" y="70"/>
                    <a:pt x="6" y="74"/>
                    <a:pt x="5" y="79"/>
                  </a:cubicBezTo>
                  <a:cubicBezTo>
                    <a:pt x="4" y="82"/>
                    <a:pt x="4" y="86"/>
                    <a:pt x="3" y="90"/>
                  </a:cubicBezTo>
                  <a:cubicBezTo>
                    <a:pt x="3" y="92"/>
                    <a:pt x="3" y="94"/>
                    <a:pt x="3" y="96"/>
                  </a:cubicBezTo>
                  <a:cubicBezTo>
                    <a:pt x="3" y="97"/>
                    <a:pt x="3" y="98"/>
                    <a:pt x="3" y="98"/>
                  </a:cubicBezTo>
                  <a:cubicBezTo>
                    <a:pt x="4" y="98"/>
                    <a:pt x="5" y="97"/>
                    <a:pt x="6" y="97"/>
                  </a:cubicBezTo>
                  <a:cubicBezTo>
                    <a:pt x="7" y="97"/>
                    <a:pt x="7" y="96"/>
                    <a:pt x="7" y="95"/>
                  </a:cubicBezTo>
                  <a:cubicBezTo>
                    <a:pt x="8" y="93"/>
                    <a:pt x="9" y="91"/>
                    <a:pt x="10" y="89"/>
                  </a:cubicBezTo>
                  <a:cubicBezTo>
                    <a:pt x="10" y="88"/>
                    <a:pt x="11" y="87"/>
                    <a:pt x="13" y="88"/>
                  </a:cubicBezTo>
                  <a:cubicBezTo>
                    <a:pt x="13" y="88"/>
                    <a:pt x="14" y="87"/>
                    <a:pt x="14" y="87"/>
                  </a:cubicBezTo>
                  <a:cubicBezTo>
                    <a:pt x="15" y="88"/>
                    <a:pt x="15" y="89"/>
                    <a:pt x="15" y="90"/>
                  </a:cubicBezTo>
                  <a:cubicBezTo>
                    <a:pt x="16" y="91"/>
                    <a:pt x="15" y="92"/>
                    <a:pt x="15" y="94"/>
                  </a:cubicBezTo>
                  <a:cubicBezTo>
                    <a:pt x="15" y="95"/>
                    <a:pt x="15" y="96"/>
                    <a:pt x="16" y="97"/>
                  </a:cubicBezTo>
                  <a:cubicBezTo>
                    <a:pt x="16" y="97"/>
                    <a:pt x="17" y="97"/>
                    <a:pt x="17" y="98"/>
                  </a:cubicBezTo>
                  <a:cubicBezTo>
                    <a:pt x="19" y="101"/>
                    <a:pt x="22" y="104"/>
                    <a:pt x="24" y="107"/>
                  </a:cubicBezTo>
                  <a:cubicBezTo>
                    <a:pt x="25" y="108"/>
                    <a:pt x="27" y="110"/>
                    <a:pt x="29" y="110"/>
                  </a:cubicBezTo>
                  <a:cubicBezTo>
                    <a:pt x="30" y="110"/>
                    <a:pt x="31" y="110"/>
                    <a:pt x="32" y="111"/>
                  </a:cubicBezTo>
                  <a:close/>
                  <a:moveTo>
                    <a:pt x="126" y="18"/>
                  </a:moveTo>
                  <a:cubicBezTo>
                    <a:pt x="126" y="18"/>
                    <a:pt x="126" y="18"/>
                    <a:pt x="126" y="18"/>
                  </a:cubicBezTo>
                  <a:cubicBezTo>
                    <a:pt x="126" y="18"/>
                    <a:pt x="126" y="18"/>
                    <a:pt x="126" y="19"/>
                  </a:cubicBezTo>
                  <a:cubicBezTo>
                    <a:pt x="126" y="21"/>
                    <a:pt x="125" y="21"/>
                    <a:pt x="124" y="21"/>
                  </a:cubicBezTo>
                  <a:cubicBezTo>
                    <a:pt x="123" y="21"/>
                    <a:pt x="122" y="21"/>
                    <a:pt x="121" y="21"/>
                  </a:cubicBezTo>
                  <a:cubicBezTo>
                    <a:pt x="120" y="21"/>
                    <a:pt x="118" y="20"/>
                    <a:pt x="116" y="20"/>
                  </a:cubicBezTo>
                  <a:cubicBezTo>
                    <a:pt x="115" y="20"/>
                    <a:pt x="113" y="20"/>
                    <a:pt x="111" y="20"/>
                  </a:cubicBezTo>
                  <a:cubicBezTo>
                    <a:pt x="110" y="20"/>
                    <a:pt x="110" y="21"/>
                    <a:pt x="110" y="21"/>
                  </a:cubicBezTo>
                  <a:cubicBezTo>
                    <a:pt x="110" y="22"/>
                    <a:pt x="110" y="24"/>
                    <a:pt x="110" y="25"/>
                  </a:cubicBezTo>
                  <a:cubicBezTo>
                    <a:pt x="110" y="26"/>
                    <a:pt x="111" y="27"/>
                    <a:pt x="110" y="28"/>
                  </a:cubicBezTo>
                  <a:cubicBezTo>
                    <a:pt x="109" y="29"/>
                    <a:pt x="107" y="29"/>
                    <a:pt x="107" y="29"/>
                  </a:cubicBezTo>
                  <a:cubicBezTo>
                    <a:pt x="105" y="27"/>
                    <a:pt x="102" y="27"/>
                    <a:pt x="100" y="26"/>
                  </a:cubicBezTo>
                  <a:cubicBezTo>
                    <a:pt x="99" y="25"/>
                    <a:pt x="98" y="26"/>
                    <a:pt x="97" y="26"/>
                  </a:cubicBezTo>
                  <a:cubicBezTo>
                    <a:pt x="96" y="27"/>
                    <a:pt x="96" y="28"/>
                    <a:pt x="97" y="29"/>
                  </a:cubicBezTo>
                  <a:cubicBezTo>
                    <a:pt x="99" y="32"/>
                    <a:pt x="102" y="32"/>
                    <a:pt x="105" y="32"/>
                  </a:cubicBezTo>
                  <a:cubicBezTo>
                    <a:pt x="107" y="33"/>
                    <a:pt x="109" y="33"/>
                    <a:pt x="112" y="33"/>
                  </a:cubicBezTo>
                  <a:cubicBezTo>
                    <a:pt x="114" y="33"/>
                    <a:pt x="116" y="33"/>
                    <a:pt x="118" y="33"/>
                  </a:cubicBezTo>
                  <a:cubicBezTo>
                    <a:pt x="119" y="33"/>
                    <a:pt x="121" y="32"/>
                    <a:pt x="122" y="33"/>
                  </a:cubicBezTo>
                  <a:cubicBezTo>
                    <a:pt x="125" y="33"/>
                    <a:pt x="126" y="36"/>
                    <a:pt x="127" y="38"/>
                  </a:cubicBezTo>
                  <a:cubicBezTo>
                    <a:pt x="128" y="41"/>
                    <a:pt x="127" y="44"/>
                    <a:pt x="127" y="47"/>
                  </a:cubicBezTo>
                  <a:cubicBezTo>
                    <a:pt x="127" y="47"/>
                    <a:pt x="127" y="48"/>
                    <a:pt x="127" y="48"/>
                  </a:cubicBezTo>
                  <a:cubicBezTo>
                    <a:pt x="125" y="48"/>
                    <a:pt x="124" y="48"/>
                    <a:pt x="123" y="48"/>
                  </a:cubicBezTo>
                  <a:cubicBezTo>
                    <a:pt x="119" y="47"/>
                    <a:pt x="115" y="46"/>
                    <a:pt x="112" y="47"/>
                  </a:cubicBezTo>
                  <a:cubicBezTo>
                    <a:pt x="111" y="47"/>
                    <a:pt x="110" y="47"/>
                    <a:pt x="109" y="48"/>
                  </a:cubicBezTo>
                  <a:cubicBezTo>
                    <a:pt x="109" y="48"/>
                    <a:pt x="108" y="49"/>
                    <a:pt x="108" y="50"/>
                  </a:cubicBezTo>
                  <a:cubicBezTo>
                    <a:pt x="108" y="51"/>
                    <a:pt x="108" y="51"/>
                    <a:pt x="108" y="52"/>
                  </a:cubicBezTo>
                  <a:cubicBezTo>
                    <a:pt x="108" y="53"/>
                    <a:pt x="108" y="53"/>
                    <a:pt x="108" y="54"/>
                  </a:cubicBezTo>
                  <a:cubicBezTo>
                    <a:pt x="108" y="56"/>
                    <a:pt x="107" y="57"/>
                    <a:pt x="106" y="57"/>
                  </a:cubicBezTo>
                  <a:cubicBezTo>
                    <a:pt x="105" y="57"/>
                    <a:pt x="105" y="56"/>
                    <a:pt x="105" y="56"/>
                  </a:cubicBezTo>
                  <a:cubicBezTo>
                    <a:pt x="103" y="56"/>
                    <a:pt x="102" y="57"/>
                    <a:pt x="102" y="59"/>
                  </a:cubicBezTo>
                  <a:cubicBezTo>
                    <a:pt x="104" y="59"/>
                    <a:pt x="105" y="59"/>
                    <a:pt x="106" y="60"/>
                  </a:cubicBezTo>
                  <a:cubicBezTo>
                    <a:pt x="107" y="61"/>
                    <a:pt x="107" y="63"/>
                    <a:pt x="106" y="64"/>
                  </a:cubicBezTo>
                  <a:cubicBezTo>
                    <a:pt x="105" y="66"/>
                    <a:pt x="103" y="65"/>
                    <a:pt x="101" y="65"/>
                  </a:cubicBezTo>
                  <a:cubicBezTo>
                    <a:pt x="99" y="63"/>
                    <a:pt x="102" y="62"/>
                    <a:pt x="101" y="60"/>
                  </a:cubicBezTo>
                  <a:cubicBezTo>
                    <a:pt x="100" y="61"/>
                    <a:pt x="99" y="61"/>
                    <a:pt x="99" y="62"/>
                  </a:cubicBezTo>
                  <a:cubicBezTo>
                    <a:pt x="99" y="63"/>
                    <a:pt x="99" y="64"/>
                    <a:pt x="99" y="65"/>
                  </a:cubicBezTo>
                  <a:cubicBezTo>
                    <a:pt x="100" y="67"/>
                    <a:pt x="101" y="68"/>
                    <a:pt x="102" y="69"/>
                  </a:cubicBezTo>
                  <a:cubicBezTo>
                    <a:pt x="104" y="71"/>
                    <a:pt x="107" y="72"/>
                    <a:pt x="110" y="71"/>
                  </a:cubicBezTo>
                  <a:cubicBezTo>
                    <a:pt x="111" y="70"/>
                    <a:pt x="112" y="70"/>
                    <a:pt x="111" y="69"/>
                  </a:cubicBezTo>
                  <a:cubicBezTo>
                    <a:pt x="110" y="68"/>
                    <a:pt x="110" y="67"/>
                    <a:pt x="109" y="66"/>
                  </a:cubicBezTo>
                  <a:cubicBezTo>
                    <a:pt x="109" y="64"/>
                    <a:pt x="108" y="62"/>
                    <a:pt x="109" y="61"/>
                  </a:cubicBezTo>
                  <a:cubicBezTo>
                    <a:pt x="112" y="59"/>
                    <a:pt x="116" y="56"/>
                    <a:pt x="119" y="58"/>
                  </a:cubicBezTo>
                  <a:cubicBezTo>
                    <a:pt x="120" y="61"/>
                    <a:pt x="121" y="63"/>
                    <a:pt x="122" y="65"/>
                  </a:cubicBezTo>
                  <a:cubicBezTo>
                    <a:pt x="122" y="65"/>
                    <a:pt x="122" y="66"/>
                    <a:pt x="123" y="66"/>
                  </a:cubicBezTo>
                  <a:cubicBezTo>
                    <a:pt x="123" y="65"/>
                    <a:pt x="124" y="65"/>
                    <a:pt x="125" y="65"/>
                  </a:cubicBezTo>
                  <a:cubicBezTo>
                    <a:pt x="127" y="64"/>
                    <a:pt x="129" y="64"/>
                    <a:pt x="130" y="65"/>
                  </a:cubicBezTo>
                  <a:cubicBezTo>
                    <a:pt x="131" y="66"/>
                    <a:pt x="131" y="68"/>
                    <a:pt x="131" y="69"/>
                  </a:cubicBezTo>
                  <a:cubicBezTo>
                    <a:pt x="131" y="70"/>
                    <a:pt x="131" y="71"/>
                    <a:pt x="131" y="73"/>
                  </a:cubicBezTo>
                  <a:cubicBezTo>
                    <a:pt x="131" y="75"/>
                    <a:pt x="132" y="76"/>
                    <a:pt x="131" y="78"/>
                  </a:cubicBezTo>
                  <a:cubicBezTo>
                    <a:pt x="131" y="78"/>
                    <a:pt x="131" y="78"/>
                    <a:pt x="132" y="78"/>
                  </a:cubicBezTo>
                  <a:cubicBezTo>
                    <a:pt x="133" y="78"/>
                    <a:pt x="134" y="78"/>
                    <a:pt x="134" y="79"/>
                  </a:cubicBezTo>
                  <a:cubicBezTo>
                    <a:pt x="134" y="80"/>
                    <a:pt x="134" y="82"/>
                    <a:pt x="133" y="82"/>
                  </a:cubicBezTo>
                  <a:cubicBezTo>
                    <a:pt x="130" y="83"/>
                    <a:pt x="127" y="83"/>
                    <a:pt x="124" y="82"/>
                  </a:cubicBezTo>
                  <a:cubicBezTo>
                    <a:pt x="120" y="81"/>
                    <a:pt x="116" y="80"/>
                    <a:pt x="113" y="77"/>
                  </a:cubicBezTo>
                  <a:cubicBezTo>
                    <a:pt x="112" y="76"/>
                    <a:pt x="110" y="76"/>
                    <a:pt x="110" y="77"/>
                  </a:cubicBezTo>
                  <a:cubicBezTo>
                    <a:pt x="108" y="80"/>
                    <a:pt x="107" y="82"/>
                    <a:pt x="106" y="85"/>
                  </a:cubicBezTo>
                  <a:cubicBezTo>
                    <a:pt x="106" y="86"/>
                    <a:pt x="106" y="87"/>
                    <a:pt x="105" y="87"/>
                  </a:cubicBezTo>
                  <a:cubicBezTo>
                    <a:pt x="101" y="90"/>
                    <a:pt x="99" y="93"/>
                    <a:pt x="100" y="98"/>
                  </a:cubicBezTo>
                  <a:cubicBezTo>
                    <a:pt x="100" y="99"/>
                    <a:pt x="100" y="100"/>
                    <a:pt x="100" y="102"/>
                  </a:cubicBezTo>
                  <a:cubicBezTo>
                    <a:pt x="101" y="104"/>
                    <a:pt x="101" y="105"/>
                    <a:pt x="103" y="106"/>
                  </a:cubicBezTo>
                  <a:cubicBezTo>
                    <a:pt x="105" y="108"/>
                    <a:pt x="107" y="108"/>
                    <a:pt x="110" y="109"/>
                  </a:cubicBezTo>
                  <a:cubicBezTo>
                    <a:pt x="110" y="109"/>
                    <a:pt x="111" y="109"/>
                    <a:pt x="112" y="109"/>
                  </a:cubicBezTo>
                  <a:cubicBezTo>
                    <a:pt x="113" y="108"/>
                    <a:pt x="114" y="108"/>
                    <a:pt x="116" y="108"/>
                  </a:cubicBezTo>
                  <a:cubicBezTo>
                    <a:pt x="119" y="107"/>
                    <a:pt x="118" y="109"/>
                    <a:pt x="118" y="111"/>
                  </a:cubicBezTo>
                  <a:cubicBezTo>
                    <a:pt x="118" y="111"/>
                    <a:pt x="118" y="111"/>
                    <a:pt x="118" y="112"/>
                  </a:cubicBezTo>
                  <a:cubicBezTo>
                    <a:pt x="118" y="112"/>
                    <a:pt x="118" y="113"/>
                    <a:pt x="118" y="113"/>
                  </a:cubicBezTo>
                  <a:cubicBezTo>
                    <a:pt x="120" y="114"/>
                    <a:pt x="121" y="116"/>
                    <a:pt x="121" y="118"/>
                  </a:cubicBezTo>
                  <a:cubicBezTo>
                    <a:pt x="121" y="122"/>
                    <a:pt x="121" y="126"/>
                    <a:pt x="120" y="130"/>
                  </a:cubicBezTo>
                  <a:cubicBezTo>
                    <a:pt x="120" y="131"/>
                    <a:pt x="120" y="133"/>
                    <a:pt x="120" y="134"/>
                  </a:cubicBezTo>
                  <a:cubicBezTo>
                    <a:pt x="119" y="135"/>
                    <a:pt x="119" y="135"/>
                    <a:pt x="119" y="136"/>
                  </a:cubicBezTo>
                  <a:cubicBezTo>
                    <a:pt x="119" y="136"/>
                    <a:pt x="119" y="136"/>
                    <a:pt x="120" y="136"/>
                  </a:cubicBezTo>
                  <a:cubicBezTo>
                    <a:pt x="122" y="136"/>
                    <a:pt x="124" y="135"/>
                    <a:pt x="127" y="135"/>
                  </a:cubicBezTo>
                  <a:cubicBezTo>
                    <a:pt x="127" y="134"/>
                    <a:pt x="128" y="134"/>
                    <a:pt x="128" y="134"/>
                  </a:cubicBezTo>
                  <a:cubicBezTo>
                    <a:pt x="128" y="132"/>
                    <a:pt x="128" y="130"/>
                    <a:pt x="129" y="128"/>
                  </a:cubicBezTo>
                  <a:cubicBezTo>
                    <a:pt x="129" y="127"/>
                    <a:pt x="129" y="126"/>
                    <a:pt x="130" y="125"/>
                  </a:cubicBezTo>
                  <a:cubicBezTo>
                    <a:pt x="131" y="123"/>
                    <a:pt x="132" y="121"/>
                    <a:pt x="133" y="119"/>
                  </a:cubicBezTo>
                  <a:cubicBezTo>
                    <a:pt x="134" y="117"/>
                    <a:pt x="137" y="116"/>
                    <a:pt x="138" y="114"/>
                  </a:cubicBezTo>
                  <a:cubicBezTo>
                    <a:pt x="138" y="113"/>
                    <a:pt x="138" y="113"/>
                    <a:pt x="138" y="113"/>
                  </a:cubicBezTo>
                  <a:cubicBezTo>
                    <a:pt x="140" y="113"/>
                    <a:pt x="141" y="112"/>
                    <a:pt x="141" y="110"/>
                  </a:cubicBezTo>
                  <a:cubicBezTo>
                    <a:pt x="142" y="109"/>
                    <a:pt x="142" y="108"/>
                    <a:pt x="143" y="107"/>
                  </a:cubicBezTo>
                  <a:cubicBezTo>
                    <a:pt x="143" y="106"/>
                    <a:pt x="144" y="105"/>
                    <a:pt x="144" y="103"/>
                  </a:cubicBezTo>
                  <a:cubicBezTo>
                    <a:pt x="144" y="102"/>
                    <a:pt x="143" y="101"/>
                    <a:pt x="144" y="100"/>
                  </a:cubicBezTo>
                  <a:cubicBezTo>
                    <a:pt x="144" y="100"/>
                    <a:pt x="144" y="100"/>
                    <a:pt x="144" y="99"/>
                  </a:cubicBezTo>
                  <a:cubicBezTo>
                    <a:pt x="142" y="95"/>
                    <a:pt x="141" y="91"/>
                    <a:pt x="139" y="87"/>
                  </a:cubicBezTo>
                  <a:cubicBezTo>
                    <a:pt x="138" y="85"/>
                    <a:pt x="138" y="84"/>
                    <a:pt x="138" y="82"/>
                  </a:cubicBezTo>
                  <a:cubicBezTo>
                    <a:pt x="137" y="80"/>
                    <a:pt x="139" y="79"/>
                    <a:pt x="141" y="80"/>
                  </a:cubicBezTo>
                  <a:cubicBezTo>
                    <a:pt x="142" y="81"/>
                    <a:pt x="144" y="82"/>
                    <a:pt x="145" y="84"/>
                  </a:cubicBezTo>
                  <a:cubicBezTo>
                    <a:pt x="146" y="86"/>
                    <a:pt x="148" y="87"/>
                    <a:pt x="150" y="89"/>
                  </a:cubicBezTo>
                  <a:cubicBezTo>
                    <a:pt x="151" y="89"/>
                    <a:pt x="152" y="90"/>
                    <a:pt x="152" y="90"/>
                  </a:cubicBezTo>
                  <a:cubicBezTo>
                    <a:pt x="153" y="89"/>
                    <a:pt x="154" y="88"/>
                    <a:pt x="156" y="87"/>
                  </a:cubicBezTo>
                  <a:cubicBezTo>
                    <a:pt x="156" y="75"/>
                    <a:pt x="152" y="62"/>
                    <a:pt x="147" y="50"/>
                  </a:cubicBezTo>
                  <a:cubicBezTo>
                    <a:pt x="142" y="38"/>
                    <a:pt x="135" y="28"/>
                    <a:pt x="126" y="18"/>
                  </a:cubicBezTo>
                  <a:close/>
                  <a:moveTo>
                    <a:pt x="96" y="66"/>
                  </a:moveTo>
                  <a:cubicBezTo>
                    <a:pt x="96" y="65"/>
                    <a:pt x="96" y="64"/>
                    <a:pt x="96" y="62"/>
                  </a:cubicBezTo>
                  <a:cubicBezTo>
                    <a:pt x="97" y="61"/>
                    <a:pt x="97" y="60"/>
                    <a:pt x="96" y="59"/>
                  </a:cubicBezTo>
                  <a:cubicBezTo>
                    <a:pt x="95" y="57"/>
                    <a:pt x="96" y="57"/>
                    <a:pt x="97" y="56"/>
                  </a:cubicBezTo>
                  <a:cubicBezTo>
                    <a:pt x="98" y="56"/>
                    <a:pt x="99" y="55"/>
                    <a:pt x="101" y="54"/>
                  </a:cubicBezTo>
                  <a:cubicBezTo>
                    <a:pt x="101" y="54"/>
                    <a:pt x="101" y="53"/>
                    <a:pt x="101" y="54"/>
                  </a:cubicBezTo>
                  <a:cubicBezTo>
                    <a:pt x="103" y="54"/>
                    <a:pt x="104" y="52"/>
                    <a:pt x="104" y="51"/>
                  </a:cubicBezTo>
                  <a:cubicBezTo>
                    <a:pt x="104" y="50"/>
                    <a:pt x="104" y="50"/>
                    <a:pt x="104" y="50"/>
                  </a:cubicBezTo>
                  <a:cubicBezTo>
                    <a:pt x="103" y="50"/>
                    <a:pt x="103" y="50"/>
                    <a:pt x="102" y="50"/>
                  </a:cubicBezTo>
                  <a:cubicBezTo>
                    <a:pt x="99" y="52"/>
                    <a:pt x="98" y="52"/>
                    <a:pt x="95" y="49"/>
                  </a:cubicBezTo>
                  <a:cubicBezTo>
                    <a:pt x="94" y="48"/>
                    <a:pt x="93" y="47"/>
                    <a:pt x="92" y="46"/>
                  </a:cubicBezTo>
                  <a:cubicBezTo>
                    <a:pt x="90" y="45"/>
                    <a:pt x="89" y="45"/>
                    <a:pt x="88" y="44"/>
                  </a:cubicBezTo>
                  <a:cubicBezTo>
                    <a:pt x="87" y="44"/>
                    <a:pt x="85" y="43"/>
                    <a:pt x="84" y="43"/>
                  </a:cubicBezTo>
                  <a:cubicBezTo>
                    <a:pt x="83" y="43"/>
                    <a:pt x="82" y="43"/>
                    <a:pt x="81" y="43"/>
                  </a:cubicBezTo>
                  <a:cubicBezTo>
                    <a:pt x="79" y="43"/>
                    <a:pt x="76" y="42"/>
                    <a:pt x="74" y="42"/>
                  </a:cubicBezTo>
                  <a:cubicBezTo>
                    <a:pt x="72" y="41"/>
                    <a:pt x="70" y="40"/>
                    <a:pt x="68" y="42"/>
                  </a:cubicBezTo>
                  <a:cubicBezTo>
                    <a:pt x="68" y="42"/>
                    <a:pt x="68" y="41"/>
                    <a:pt x="67" y="41"/>
                  </a:cubicBezTo>
                  <a:cubicBezTo>
                    <a:pt x="66" y="41"/>
                    <a:pt x="65" y="41"/>
                    <a:pt x="64" y="42"/>
                  </a:cubicBezTo>
                  <a:cubicBezTo>
                    <a:pt x="63" y="43"/>
                    <a:pt x="62" y="43"/>
                    <a:pt x="62" y="43"/>
                  </a:cubicBezTo>
                  <a:cubicBezTo>
                    <a:pt x="60" y="44"/>
                    <a:pt x="58" y="44"/>
                    <a:pt x="56" y="45"/>
                  </a:cubicBezTo>
                  <a:cubicBezTo>
                    <a:pt x="56" y="46"/>
                    <a:pt x="55" y="46"/>
                    <a:pt x="55" y="46"/>
                  </a:cubicBezTo>
                  <a:cubicBezTo>
                    <a:pt x="54" y="46"/>
                    <a:pt x="53" y="46"/>
                    <a:pt x="53" y="46"/>
                  </a:cubicBezTo>
                  <a:cubicBezTo>
                    <a:pt x="51" y="48"/>
                    <a:pt x="49" y="48"/>
                    <a:pt x="47" y="47"/>
                  </a:cubicBezTo>
                  <a:cubicBezTo>
                    <a:pt x="46" y="49"/>
                    <a:pt x="45" y="51"/>
                    <a:pt x="48" y="52"/>
                  </a:cubicBezTo>
                  <a:cubicBezTo>
                    <a:pt x="48" y="54"/>
                    <a:pt x="48" y="55"/>
                    <a:pt x="48" y="57"/>
                  </a:cubicBezTo>
                  <a:cubicBezTo>
                    <a:pt x="48" y="57"/>
                    <a:pt x="49" y="56"/>
                    <a:pt x="49" y="56"/>
                  </a:cubicBezTo>
                  <a:cubicBezTo>
                    <a:pt x="51" y="55"/>
                    <a:pt x="52" y="53"/>
                    <a:pt x="54" y="53"/>
                  </a:cubicBezTo>
                  <a:cubicBezTo>
                    <a:pt x="55" y="54"/>
                    <a:pt x="57" y="53"/>
                    <a:pt x="58" y="52"/>
                  </a:cubicBezTo>
                  <a:cubicBezTo>
                    <a:pt x="59" y="52"/>
                    <a:pt x="60" y="51"/>
                    <a:pt x="60" y="51"/>
                  </a:cubicBezTo>
                  <a:cubicBezTo>
                    <a:pt x="62" y="51"/>
                    <a:pt x="64" y="50"/>
                    <a:pt x="66" y="52"/>
                  </a:cubicBezTo>
                  <a:cubicBezTo>
                    <a:pt x="66" y="52"/>
                    <a:pt x="67" y="53"/>
                    <a:pt x="69" y="53"/>
                  </a:cubicBezTo>
                  <a:cubicBezTo>
                    <a:pt x="72" y="51"/>
                    <a:pt x="75" y="51"/>
                    <a:pt x="79" y="51"/>
                  </a:cubicBezTo>
                  <a:cubicBezTo>
                    <a:pt x="83" y="52"/>
                    <a:pt x="87" y="54"/>
                    <a:pt x="90" y="57"/>
                  </a:cubicBezTo>
                  <a:cubicBezTo>
                    <a:pt x="90" y="57"/>
                    <a:pt x="91" y="58"/>
                    <a:pt x="91" y="59"/>
                  </a:cubicBezTo>
                  <a:cubicBezTo>
                    <a:pt x="93" y="61"/>
                    <a:pt x="94" y="64"/>
                    <a:pt x="96" y="66"/>
                  </a:cubicBezTo>
                  <a:close/>
                  <a:moveTo>
                    <a:pt x="98" y="5"/>
                  </a:moveTo>
                  <a:cubicBezTo>
                    <a:pt x="98" y="5"/>
                    <a:pt x="98" y="5"/>
                    <a:pt x="98" y="5"/>
                  </a:cubicBezTo>
                  <a:cubicBezTo>
                    <a:pt x="98" y="5"/>
                    <a:pt x="97" y="4"/>
                    <a:pt x="96" y="4"/>
                  </a:cubicBezTo>
                  <a:cubicBezTo>
                    <a:pt x="94" y="5"/>
                    <a:pt x="91" y="5"/>
                    <a:pt x="88" y="5"/>
                  </a:cubicBezTo>
                  <a:cubicBezTo>
                    <a:pt x="85" y="5"/>
                    <a:pt x="82" y="6"/>
                    <a:pt x="79" y="7"/>
                  </a:cubicBezTo>
                  <a:cubicBezTo>
                    <a:pt x="76" y="8"/>
                    <a:pt x="73" y="9"/>
                    <a:pt x="70" y="11"/>
                  </a:cubicBezTo>
                  <a:cubicBezTo>
                    <a:pt x="68" y="12"/>
                    <a:pt x="67" y="13"/>
                    <a:pt x="67" y="16"/>
                  </a:cubicBezTo>
                  <a:cubicBezTo>
                    <a:pt x="67" y="19"/>
                    <a:pt x="67" y="22"/>
                    <a:pt x="68" y="24"/>
                  </a:cubicBezTo>
                  <a:cubicBezTo>
                    <a:pt x="69" y="27"/>
                    <a:pt x="70" y="29"/>
                    <a:pt x="73" y="31"/>
                  </a:cubicBezTo>
                  <a:cubicBezTo>
                    <a:pt x="73" y="31"/>
                    <a:pt x="73" y="31"/>
                    <a:pt x="73" y="30"/>
                  </a:cubicBezTo>
                  <a:cubicBezTo>
                    <a:pt x="74" y="29"/>
                    <a:pt x="74" y="28"/>
                    <a:pt x="74" y="26"/>
                  </a:cubicBezTo>
                  <a:cubicBezTo>
                    <a:pt x="74" y="26"/>
                    <a:pt x="74" y="25"/>
                    <a:pt x="74" y="24"/>
                  </a:cubicBezTo>
                  <a:cubicBezTo>
                    <a:pt x="76" y="22"/>
                    <a:pt x="78" y="20"/>
                    <a:pt x="81" y="20"/>
                  </a:cubicBezTo>
                  <a:cubicBezTo>
                    <a:pt x="78" y="18"/>
                    <a:pt x="78" y="17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2" y="13"/>
                    <a:pt x="84" y="12"/>
                    <a:pt x="86" y="10"/>
                  </a:cubicBezTo>
                  <a:cubicBezTo>
                    <a:pt x="88" y="9"/>
                    <a:pt x="89" y="9"/>
                    <a:pt x="91" y="9"/>
                  </a:cubicBezTo>
                  <a:cubicBezTo>
                    <a:pt x="93" y="10"/>
                    <a:pt x="94" y="10"/>
                    <a:pt x="95" y="9"/>
                  </a:cubicBezTo>
                  <a:cubicBezTo>
                    <a:pt x="96" y="8"/>
                    <a:pt x="97" y="6"/>
                    <a:pt x="98" y="5"/>
                  </a:cubicBezTo>
                  <a:close/>
                  <a:moveTo>
                    <a:pt x="22" y="139"/>
                  </a:moveTo>
                  <a:cubicBezTo>
                    <a:pt x="22" y="138"/>
                    <a:pt x="22" y="138"/>
                    <a:pt x="22" y="138"/>
                  </a:cubicBezTo>
                  <a:cubicBezTo>
                    <a:pt x="22" y="138"/>
                    <a:pt x="22" y="137"/>
                    <a:pt x="21" y="137"/>
                  </a:cubicBezTo>
                  <a:cubicBezTo>
                    <a:pt x="20" y="135"/>
                    <a:pt x="18" y="133"/>
                    <a:pt x="17" y="131"/>
                  </a:cubicBezTo>
                  <a:cubicBezTo>
                    <a:pt x="13" y="127"/>
                    <a:pt x="10" y="122"/>
                    <a:pt x="9" y="117"/>
                  </a:cubicBezTo>
                  <a:cubicBezTo>
                    <a:pt x="8" y="115"/>
                    <a:pt x="7" y="113"/>
                    <a:pt x="6" y="111"/>
                  </a:cubicBezTo>
                  <a:cubicBezTo>
                    <a:pt x="6" y="110"/>
                    <a:pt x="6" y="110"/>
                    <a:pt x="6" y="109"/>
                  </a:cubicBezTo>
                  <a:cubicBezTo>
                    <a:pt x="5" y="108"/>
                    <a:pt x="5" y="108"/>
                    <a:pt x="5" y="107"/>
                  </a:cubicBezTo>
                  <a:cubicBezTo>
                    <a:pt x="4" y="108"/>
                    <a:pt x="5" y="109"/>
                    <a:pt x="5" y="110"/>
                  </a:cubicBezTo>
                  <a:cubicBezTo>
                    <a:pt x="6" y="112"/>
                    <a:pt x="7" y="115"/>
                    <a:pt x="7" y="117"/>
                  </a:cubicBezTo>
                  <a:cubicBezTo>
                    <a:pt x="9" y="121"/>
                    <a:pt x="11" y="126"/>
                    <a:pt x="14" y="129"/>
                  </a:cubicBezTo>
                  <a:cubicBezTo>
                    <a:pt x="15" y="130"/>
                    <a:pt x="16" y="131"/>
                    <a:pt x="17" y="132"/>
                  </a:cubicBezTo>
                  <a:cubicBezTo>
                    <a:pt x="18" y="134"/>
                    <a:pt x="20" y="136"/>
                    <a:pt x="22" y="139"/>
                  </a:cubicBezTo>
                  <a:close/>
                  <a:moveTo>
                    <a:pt x="70" y="128"/>
                  </a:moveTo>
                  <a:cubicBezTo>
                    <a:pt x="71" y="126"/>
                    <a:pt x="71" y="125"/>
                    <a:pt x="71" y="123"/>
                  </a:cubicBezTo>
                  <a:cubicBezTo>
                    <a:pt x="69" y="124"/>
                    <a:pt x="67" y="125"/>
                    <a:pt x="65" y="126"/>
                  </a:cubicBezTo>
                  <a:cubicBezTo>
                    <a:pt x="65" y="126"/>
                    <a:pt x="65" y="126"/>
                    <a:pt x="65" y="127"/>
                  </a:cubicBezTo>
                  <a:cubicBezTo>
                    <a:pt x="66" y="127"/>
                    <a:pt x="67" y="126"/>
                    <a:pt x="68" y="126"/>
                  </a:cubicBezTo>
                  <a:cubicBezTo>
                    <a:pt x="69" y="126"/>
                    <a:pt x="70" y="127"/>
                    <a:pt x="70" y="128"/>
                  </a:cubicBezTo>
                  <a:close/>
                  <a:moveTo>
                    <a:pt x="126" y="139"/>
                  </a:moveTo>
                  <a:cubicBezTo>
                    <a:pt x="126" y="139"/>
                    <a:pt x="126" y="139"/>
                    <a:pt x="126" y="138"/>
                  </a:cubicBezTo>
                  <a:cubicBezTo>
                    <a:pt x="123" y="139"/>
                    <a:pt x="121" y="140"/>
                    <a:pt x="118" y="140"/>
                  </a:cubicBezTo>
                  <a:cubicBezTo>
                    <a:pt x="118" y="140"/>
                    <a:pt x="119" y="141"/>
                    <a:pt x="119" y="141"/>
                  </a:cubicBezTo>
                  <a:cubicBezTo>
                    <a:pt x="120" y="142"/>
                    <a:pt x="120" y="142"/>
                    <a:pt x="120" y="142"/>
                  </a:cubicBezTo>
                  <a:cubicBezTo>
                    <a:pt x="122" y="141"/>
                    <a:pt x="124" y="140"/>
                    <a:pt x="126" y="139"/>
                  </a:cubicBezTo>
                  <a:close/>
                  <a:moveTo>
                    <a:pt x="46" y="93"/>
                  </a:moveTo>
                  <a:cubicBezTo>
                    <a:pt x="44" y="91"/>
                    <a:pt x="41" y="91"/>
                    <a:pt x="39" y="93"/>
                  </a:cubicBezTo>
                  <a:cubicBezTo>
                    <a:pt x="40" y="93"/>
                    <a:pt x="41" y="93"/>
                    <a:pt x="42" y="94"/>
                  </a:cubicBezTo>
                  <a:cubicBezTo>
                    <a:pt x="43" y="93"/>
                    <a:pt x="43" y="93"/>
                    <a:pt x="46" y="93"/>
                  </a:cubicBezTo>
                  <a:close/>
                  <a:moveTo>
                    <a:pt x="107" y="75"/>
                  </a:moveTo>
                  <a:cubicBezTo>
                    <a:pt x="105" y="74"/>
                    <a:pt x="103" y="74"/>
                    <a:pt x="103" y="75"/>
                  </a:cubicBezTo>
                  <a:cubicBezTo>
                    <a:pt x="105" y="75"/>
                    <a:pt x="106" y="77"/>
                    <a:pt x="106" y="79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6" y="78"/>
                    <a:pt x="107" y="76"/>
                    <a:pt x="107" y="75"/>
                  </a:cubicBezTo>
                  <a:close/>
                  <a:moveTo>
                    <a:pt x="66" y="91"/>
                  </a:moveTo>
                  <a:cubicBezTo>
                    <a:pt x="65" y="92"/>
                    <a:pt x="65" y="94"/>
                    <a:pt x="66" y="96"/>
                  </a:cubicBezTo>
                  <a:cubicBezTo>
                    <a:pt x="67" y="95"/>
                    <a:pt x="67" y="93"/>
                    <a:pt x="66" y="91"/>
                  </a:cubicBezTo>
                  <a:close/>
                  <a:moveTo>
                    <a:pt x="101" y="140"/>
                  </a:moveTo>
                  <a:cubicBezTo>
                    <a:pt x="100" y="137"/>
                    <a:pt x="100" y="135"/>
                    <a:pt x="99" y="133"/>
                  </a:cubicBezTo>
                  <a:cubicBezTo>
                    <a:pt x="99" y="136"/>
                    <a:pt x="99" y="139"/>
                    <a:pt x="101" y="140"/>
                  </a:cubicBezTo>
                  <a:close/>
                  <a:moveTo>
                    <a:pt x="131" y="135"/>
                  </a:moveTo>
                  <a:cubicBezTo>
                    <a:pt x="132" y="134"/>
                    <a:pt x="133" y="133"/>
                    <a:pt x="135" y="132"/>
                  </a:cubicBezTo>
                  <a:cubicBezTo>
                    <a:pt x="132" y="132"/>
                    <a:pt x="131" y="133"/>
                    <a:pt x="131" y="135"/>
                  </a:cubicBezTo>
                  <a:close/>
                  <a:moveTo>
                    <a:pt x="67" y="78"/>
                  </a:moveTo>
                  <a:cubicBezTo>
                    <a:pt x="69" y="78"/>
                    <a:pt x="71" y="76"/>
                    <a:pt x="72" y="75"/>
                  </a:cubicBezTo>
                  <a:cubicBezTo>
                    <a:pt x="72" y="75"/>
                    <a:pt x="72" y="74"/>
                    <a:pt x="72" y="74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0" y="75"/>
                    <a:pt x="69" y="77"/>
                    <a:pt x="67" y="78"/>
                  </a:cubicBezTo>
                  <a:close/>
                  <a:moveTo>
                    <a:pt x="70" y="153"/>
                  </a:moveTo>
                  <a:cubicBezTo>
                    <a:pt x="69" y="151"/>
                    <a:pt x="68" y="150"/>
                    <a:pt x="67" y="149"/>
                  </a:cubicBezTo>
                  <a:cubicBezTo>
                    <a:pt x="67" y="150"/>
                    <a:pt x="67" y="151"/>
                    <a:pt x="68" y="152"/>
                  </a:cubicBezTo>
                  <a:cubicBezTo>
                    <a:pt x="68" y="152"/>
                    <a:pt x="69" y="153"/>
                    <a:pt x="69" y="153"/>
                  </a:cubicBezTo>
                  <a:cubicBezTo>
                    <a:pt x="70" y="153"/>
                    <a:pt x="70" y="153"/>
                    <a:pt x="70" y="153"/>
                  </a:cubicBezTo>
                  <a:close/>
                  <a:moveTo>
                    <a:pt x="51" y="96"/>
                  </a:moveTo>
                  <a:cubicBezTo>
                    <a:pt x="51" y="96"/>
                    <a:pt x="50" y="96"/>
                    <a:pt x="50" y="96"/>
                  </a:cubicBezTo>
                  <a:cubicBezTo>
                    <a:pt x="51" y="97"/>
                    <a:pt x="51" y="97"/>
                    <a:pt x="52" y="98"/>
                  </a:cubicBezTo>
                  <a:cubicBezTo>
                    <a:pt x="53" y="97"/>
                    <a:pt x="53" y="97"/>
                    <a:pt x="54" y="96"/>
                  </a:cubicBezTo>
                  <a:cubicBezTo>
                    <a:pt x="53" y="96"/>
                    <a:pt x="52" y="96"/>
                    <a:pt x="51" y="96"/>
                  </a:cubicBezTo>
                  <a:close/>
                  <a:moveTo>
                    <a:pt x="148" y="100"/>
                  </a:moveTo>
                  <a:cubicBezTo>
                    <a:pt x="148" y="101"/>
                    <a:pt x="148" y="102"/>
                    <a:pt x="148" y="103"/>
                  </a:cubicBezTo>
                  <a:cubicBezTo>
                    <a:pt x="149" y="102"/>
                    <a:pt x="150" y="102"/>
                    <a:pt x="150" y="101"/>
                  </a:cubicBezTo>
                  <a:cubicBezTo>
                    <a:pt x="149" y="101"/>
                    <a:pt x="149" y="101"/>
                    <a:pt x="148" y="100"/>
                  </a:cubicBezTo>
                  <a:close/>
                  <a:moveTo>
                    <a:pt x="98" y="69"/>
                  </a:moveTo>
                  <a:cubicBezTo>
                    <a:pt x="99" y="72"/>
                    <a:pt x="99" y="72"/>
                    <a:pt x="101" y="72"/>
                  </a:cubicBezTo>
                  <a:cubicBezTo>
                    <a:pt x="100" y="71"/>
                    <a:pt x="99" y="70"/>
                    <a:pt x="98" y="69"/>
                  </a:cubicBezTo>
                  <a:close/>
                  <a:moveTo>
                    <a:pt x="45" y="26"/>
                  </a:moveTo>
                  <a:cubicBezTo>
                    <a:pt x="46" y="26"/>
                    <a:pt x="48" y="25"/>
                    <a:pt x="48" y="23"/>
                  </a:cubicBezTo>
                  <a:cubicBezTo>
                    <a:pt x="47" y="24"/>
                    <a:pt x="46" y="25"/>
                    <a:pt x="45" y="26"/>
                  </a:cubicBezTo>
                  <a:close/>
                  <a:moveTo>
                    <a:pt x="43" y="140"/>
                  </a:moveTo>
                  <a:cubicBezTo>
                    <a:pt x="43" y="138"/>
                    <a:pt x="41" y="139"/>
                    <a:pt x="40" y="138"/>
                  </a:cubicBezTo>
                  <a:cubicBezTo>
                    <a:pt x="40" y="138"/>
                    <a:pt x="40" y="139"/>
                    <a:pt x="40" y="139"/>
                  </a:cubicBezTo>
                  <a:cubicBezTo>
                    <a:pt x="41" y="139"/>
                    <a:pt x="42" y="140"/>
                    <a:pt x="43" y="1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0" name="Freeform 176">
              <a:extLst>
                <a:ext uri="{FF2B5EF4-FFF2-40B4-BE49-F238E27FC236}">
                  <a16:creationId xmlns:a16="http://schemas.microsoft.com/office/drawing/2014/main" id="{6D4B8176-2E20-429B-A9F0-8CFE008067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2588" y="2362201"/>
              <a:ext cx="69850" cy="125413"/>
            </a:xfrm>
            <a:custGeom>
              <a:avLst/>
              <a:gdLst>
                <a:gd name="T0" fmla="*/ 18 w 18"/>
                <a:gd name="T1" fmla="*/ 32 h 32"/>
                <a:gd name="T2" fmla="*/ 13 w 18"/>
                <a:gd name="T3" fmla="*/ 25 h 32"/>
                <a:gd name="T4" fmla="*/ 10 w 18"/>
                <a:gd name="T5" fmla="*/ 22 h 32"/>
                <a:gd name="T6" fmla="*/ 3 w 18"/>
                <a:gd name="T7" fmla="*/ 10 h 32"/>
                <a:gd name="T8" fmla="*/ 1 w 18"/>
                <a:gd name="T9" fmla="*/ 3 h 32"/>
                <a:gd name="T10" fmla="*/ 1 w 18"/>
                <a:gd name="T11" fmla="*/ 0 h 32"/>
                <a:gd name="T12" fmla="*/ 2 w 18"/>
                <a:gd name="T13" fmla="*/ 2 h 32"/>
                <a:gd name="T14" fmla="*/ 2 w 18"/>
                <a:gd name="T15" fmla="*/ 4 h 32"/>
                <a:gd name="T16" fmla="*/ 5 w 18"/>
                <a:gd name="T17" fmla="*/ 10 h 32"/>
                <a:gd name="T18" fmla="*/ 13 w 18"/>
                <a:gd name="T19" fmla="*/ 24 h 32"/>
                <a:gd name="T20" fmla="*/ 17 w 18"/>
                <a:gd name="T21" fmla="*/ 30 h 32"/>
                <a:gd name="T22" fmla="*/ 18 w 18"/>
                <a:gd name="T23" fmla="*/ 31 h 32"/>
                <a:gd name="T24" fmla="*/ 18 w 18"/>
                <a:gd name="T2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2">
                  <a:moveTo>
                    <a:pt x="18" y="32"/>
                  </a:moveTo>
                  <a:cubicBezTo>
                    <a:pt x="16" y="29"/>
                    <a:pt x="14" y="27"/>
                    <a:pt x="13" y="25"/>
                  </a:cubicBezTo>
                  <a:cubicBezTo>
                    <a:pt x="12" y="24"/>
                    <a:pt x="11" y="23"/>
                    <a:pt x="10" y="22"/>
                  </a:cubicBezTo>
                  <a:cubicBezTo>
                    <a:pt x="7" y="19"/>
                    <a:pt x="5" y="14"/>
                    <a:pt x="3" y="10"/>
                  </a:cubicBezTo>
                  <a:cubicBezTo>
                    <a:pt x="3" y="8"/>
                    <a:pt x="2" y="5"/>
                    <a:pt x="1" y="3"/>
                  </a:cubicBezTo>
                  <a:cubicBezTo>
                    <a:pt x="1" y="2"/>
                    <a:pt x="0" y="1"/>
                    <a:pt x="1" y="0"/>
                  </a:cubicBezTo>
                  <a:cubicBezTo>
                    <a:pt x="1" y="1"/>
                    <a:pt x="1" y="1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3" y="6"/>
                    <a:pt x="4" y="8"/>
                    <a:pt x="5" y="10"/>
                  </a:cubicBezTo>
                  <a:cubicBezTo>
                    <a:pt x="6" y="15"/>
                    <a:pt x="9" y="20"/>
                    <a:pt x="13" y="24"/>
                  </a:cubicBezTo>
                  <a:cubicBezTo>
                    <a:pt x="14" y="26"/>
                    <a:pt x="16" y="28"/>
                    <a:pt x="17" y="30"/>
                  </a:cubicBezTo>
                  <a:cubicBezTo>
                    <a:pt x="18" y="30"/>
                    <a:pt x="18" y="31"/>
                    <a:pt x="18" y="31"/>
                  </a:cubicBezTo>
                  <a:cubicBezTo>
                    <a:pt x="18" y="31"/>
                    <a:pt x="18" y="31"/>
                    <a:pt x="18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1" name="Freeform 177">
              <a:extLst>
                <a:ext uri="{FF2B5EF4-FFF2-40B4-BE49-F238E27FC236}">
                  <a16:creationId xmlns:a16="http://schemas.microsoft.com/office/drawing/2014/main" id="{0E7FD81D-0C93-4FFC-A00C-87041A0F30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300" y="2425701"/>
              <a:ext cx="23813" cy="19050"/>
            </a:xfrm>
            <a:custGeom>
              <a:avLst/>
              <a:gdLst>
                <a:gd name="T0" fmla="*/ 5 w 6"/>
                <a:gd name="T1" fmla="*/ 5 h 5"/>
                <a:gd name="T2" fmla="*/ 3 w 6"/>
                <a:gd name="T3" fmla="*/ 3 h 5"/>
                <a:gd name="T4" fmla="*/ 0 w 6"/>
                <a:gd name="T5" fmla="*/ 4 h 5"/>
                <a:gd name="T6" fmla="*/ 0 w 6"/>
                <a:gd name="T7" fmla="*/ 3 h 5"/>
                <a:gd name="T8" fmla="*/ 6 w 6"/>
                <a:gd name="T9" fmla="*/ 0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cubicBezTo>
                    <a:pt x="5" y="4"/>
                    <a:pt x="4" y="3"/>
                    <a:pt x="3" y="3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2"/>
                    <a:pt x="4" y="1"/>
                    <a:pt x="6" y="0"/>
                  </a:cubicBezTo>
                  <a:cubicBezTo>
                    <a:pt x="6" y="2"/>
                    <a:pt x="6" y="3"/>
                    <a:pt x="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2" name="Freeform 178">
              <a:extLst>
                <a:ext uri="{FF2B5EF4-FFF2-40B4-BE49-F238E27FC236}">
                  <a16:creationId xmlns:a16="http://schemas.microsoft.com/office/drawing/2014/main" id="{6ABBEAB4-35F7-4862-8C16-00979320E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263" y="2484438"/>
              <a:ext cx="31750" cy="15875"/>
            </a:xfrm>
            <a:custGeom>
              <a:avLst/>
              <a:gdLst>
                <a:gd name="T0" fmla="*/ 8 w 8"/>
                <a:gd name="T1" fmla="*/ 1 h 4"/>
                <a:gd name="T2" fmla="*/ 2 w 8"/>
                <a:gd name="T3" fmla="*/ 4 h 4"/>
                <a:gd name="T4" fmla="*/ 1 w 8"/>
                <a:gd name="T5" fmla="*/ 3 h 4"/>
                <a:gd name="T6" fmla="*/ 0 w 8"/>
                <a:gd name="T7" fmla="*/ 2 h 4"/>
                <a:gd name="T8" fmla="*/ 8 w 8"/>
                <a:gd name="T9" fmla="*/ 0 h 4"/>
                <a:gd name="T10" fmla="*/ 8 w 8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8" y="1"/>
                  </a:moveTo>
                  <a:cubicBezTo>
                    <a:pt x="6" y="2"/>
                    <a:pt x="4" y="3"/>
                    <a:pt x="2" y="4"/>
                  </a:cubicBezTo>
                  <a:cubicBezTo>
                    <a:pt x="2" y="4"/>
                    <a:pt x="2" y="4"/>
                    <a:pt x="1" y="3"/>
                  </a:cubicBezTo>
                  <a:cubicBezTo>
                    <a:pt x="1" y="3"/>
                    <a:pt x="0" y="2"/>
                    <a:pt x="0" y="2"/>
                  </a:cubicBezTo>
                  <a:cubicBezTo>
                    <a:pt x="3" y="2"/>
                    <a:pt x="5" y="1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4" name="Freeform 180">
              <a:extLst>
                <a:ext uri="{FF2B5EF4-FFF2-40B4-BE49-F238E27FC236}">
                  <a16:creationId xmlns:a16="http://schemas.microsoft.com/office/drawing/2014/main" id="{3BAD9F2A-86F1-4D12-AFE5-4C5E993FFC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1525" y="2232026"/>
              <a:ext cx="15875" cy="20638"/>
            </a:xfrm>
            <a:custGeom>
              <a:avLst/>
              <a:gdLst>
                <a:gd name="T0" fmla="*/ 4 w 4"/>
                <a:gd name="T1" fmla="*/ 1 h 5"/>
                <a:gd name="T2" fmla="*/ 3 w 4"/>
                <a:gd name="T3" fmla="*/ 5 h 5"/>
                <a:gd name="T4" fmla="*/ 3 w 4"/>
                <a:gd name="T5" fmla="*/ 5 h 5"/>
                <a:gd name="T6" fmla="*/ 0 w 4"/>
                <a:gd name="T7" fmla="*/ 1 h 5"/>
                <a:gd name="T8" fmla="*/ 4 w 4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4" y="1"/>
                  </a:moveTo>
                  <a:cubicBezTo>
                    <a:pt x="4" y="2"/>
                    <a:pt x="3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3"/>
                    <a:pt x="2" y="1"/>
                    <a:pt x="0" y="1"/>
                  </a:cubicBezTo>
                  <a:cubicBezTo>
                    <a:pt x="0" y="0"/>
                    <a:pt x="2" y="0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5" name="Freeform 181">
              <a:extLst>
                <a:ext uri="{FF2B5EF4-FFF2-40B4-BE49-F238E27FC236}">
                  <a16:creationId xmlns:a16="http://schemas.microsoft.com/office/drawing/2014/main" id="{F48CE284-BF8B-48E3-9895-C79BA2915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2300" y="2300288"/>
              <a:ext cx="7938" cy="19050"/>
            </a:xfrm>
            <a:custGeom>
              <a:avLst/>
              <a:gdLst>
                <a:gd name="T0" fmla="*/ 1 w 2"/>
                <a:gd name="T1" fmla="*/ 0 h 5"/>
                <a:gd name="T2" fmla="*/ 1 w 2"/>
                <a:gd name="T3" fmla="*/ 5 h 5"/>
                <a:gd name="T4" fmla="*/ 1 w 2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5">
                  <a:moveTo>
                    <a:pt x="1" y="0"/>
                  </a:moveTo>
                  <a:cubicBezTo>
                    <a:pt x="2" y="2"/>
                    <a:pt x="2" y="4"/>
                    <a:pt x="1" y="5"/>
                  </a:cubicBezTo>
                  <a:cubicBezTo>
                    <a:pt x="0" y="3"/>
                    <a:pt x="0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6" name="Freeform 182">
              <a:extLst>
                <a:ext uri="{FF2B5EF4-FFF2-40B4-BE49-F238E27FC236}">
                  <a16:creationId xmlns:a16="http://schemas.microsoft.com/office/drawing/2014/main" id="{1543C7EA-7029-4E70-9BF2-D35BD9E33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5650" y="2465388"/>
              <a:ext cx="7938" cy="26988"/>
            </a:xfrm>
            <a:custGeom>
              <a:avLst/>
              <a:gdLst>
                <a:gd name="T0" fmla="*/ 2 w 2"/>
                <a:gd name="T1" fmla="*/ 7 h 7"/>
                <a:gd name="T2" fmla="*/ 0 w 2"/>
                <a:gd name="T3" fmla="*/ 0 h 7"/>
                <a:gd name="T4" fmla="*/ 2 w 2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7">
                  <a:moveTo>
                    <a:pt x="2" y="7"/>
                  </a:moveTo>
                  <a:cubicBezTo>
                    <a:pt x="0" y="6"/>
                    <a:pt x="0" y="3"/>
                    <a:pt x="0" y="0"/>
                  </a:cubicBezTo>
                  <a:cubicBezTo>
                    <a:pt x="1" y="2"/>
                    <a:pt x="1" y="4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7" name="Freeform 183">
              <a:extLst>
                <a:ext uri="{FF2B5EF4-FFF2-40B4-BE49-F238E27FC236}">
                  <a16:creationId xmlns:a16="http://schemas.microsoft.com/office/drawing/2014/main" id="{6D7B25E3-FB16-48C5-BA08-4DB05FE8C0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063" y="2460626"/>
              <a:ext cx="15875" cy="12700"/>
            </a:xfrm>
            <a:custGeom>
              <a:avLst/>
              <a:gdLst>
                <a:gd name="T0" fmla="*/ 0 w 4"/>
                <a:gd name="T1" fmla="*/ 3 h 3"/>
                <a:gd name="T2" fmla="*/ 4 w 4"/>
                <a:gd name="T3" fmla="*/ 0 h 3"/>
                <a:gd name="T4" fmla="*/ 0 w 4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1"/>
                    <a:pt x="1" y="0"/>
                    <a:pt x="4" y="0"/>
                  </a:cubicBezTo>
                  <a:cubicBezTo>
                    <a:pt x="2" y="1"/>
                    <a:pt x="1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8" name="Freeform 184">
              <a:extLst>
                <a:ext uri="{FF2B5EF4-FFF2-40B4-BE49-F238E27FC236}">
                  <a16:creationId xmlns:a16="http://schemas.microsoft.com/office/drawing/2014/main" id="{E7A29C93-A575-478B-A65B-7B3CB4F292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238" y="2232026"/>
              <a:ext cx="19050" cy="15875"/>
            </a:xfrm>
            <a:custGeom>
              <a:avLst/>
              <a:gdLst>
                <a:gd name="T0" fmla="*/ 0 w 5"/>
                <a:gd name="T1" fmla="*/ 4 h 4"/>
                <a:gd name="T2" fmla="*/ 5 w 5"/>
                <a:gd name="T3" fmla="*/ 0 h 4"/>
                <a:gd name="T4" fmla="*/ 5 w 5"/>
                <a:gd name="T5" fmla="*/ 0 h 4"/>
                <a:gd name="T6" fmla="*/ 5 w 5"/>
                <a:gd name="T7" fmla="*/ 1 h 4"/>
                <a:gd name="T8" fmla="*/ 0 w 5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0" y="4"/>
                  </a:moveTo>
                  <a:cubicBezTo>
                    <a:pt x="2" y="3"/>
                    <a:pt x="3" y="1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2"/>
                    <a:pt x="2" y="4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69" name="Freeform 185">
              <a:extLst>
                <a:ext uri="{FF2B5EF4-FFF2-40B4-BE49-F238E27FC236}">
                  <a16:creationId xmlns:a16="http://schemas.microsoft.com/office/drawing/2014/main" id="{67D50BAB-D65F-4C8E-8923-CCDC18388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238" y="2527301"/>
              <a:ext cx="11113" cy="15875"/>
            </a:xfrm>
            <a:custGeom>
              <a:avLst/>
              <a:gdLst>
                <a:gd name="T0" fmla="*/ 3 w 3"/>
                <a:gd name="T1" fmla="*/ 4 h 4"/>
                <a:gd name="T2" fmla="*/ 2 w 3"/>
                <a:gd name="T3" fmla="*/ 4 h 4"/>
                <a:gd name="T4" fmla="*/ 1 w 3"/>
                <a:gd name="T5" fmla="*/ 3 h 4"/>
                <a:gd name="T6" fmla="*/ 0 w 3"/>
                <a:gd name="T7" fmla="*/ 0 h 4"/>
                <a:gd name="T8" fmla="*/ 3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3" y="4"/>
                  </a:move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1" y="1"/>
                    <a:pt x="2" y="2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1" name="Freeform 187">
              <a:extLst>
                <a:ext uri="{FF2B5EF4-FFF2-40B4-BE49-F238E27FC236}">
                  <a16:creationId xmlns:a16="http://schemas.microsoft.com/office/drawing/2014/main" id="{0D7D1500-E534-4099-B996-75C055D70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7738" y="2335213"/>
              <a:ext cx="7938" cy="11113"/>
            </a:xfrm>
            <a:custGeom>
              <a:avLst/>
              <a:gdLst>
                <a:gd name="T0" fmla="*/ 0 w 2"/>
                <a:gd name="T1" fmla="*/ 0 h 3"/>
                <a:gd name="T2" fmla="*/ 2 w 2"/>
                <a:gd name="T3" fmla="*/ 1 h 3"/>
                <a:gd name="T4" fmla="*/ 0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1" y="1"/>
                    <a:pt x="1" y="1"/>
                    <a:pt x="2" y="1"/>
                  </a:cubicBezTo>
                  <a:cubicBezTo>
                    <a:pt x="2" y="2"/>
                    <a:pt x="1" y="2"/>
                    <a:pt x="0" y="3"/>
                  </a:cubicBezTo>
                  <a:cubicBezTo>
                    <a:pt x="0" y="2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2" name="Freeform 188">
              <a:extLst>
                <a:ext uri="{FF2B5EF4-FFF2-40B4-BE49-F238E27FC236}">
                  <a16:creationId xmlns:a16="http://schemas.microsoft.com/office/drawing/2014/main" id="{11E46159-31C2-4104-926A-F6DE7401E0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2475" y="2212976"/>
              <a:ext cx="11113" cy="11113"/>
            </a:xfrm>
            <a:custGeom>
              <a:avLst/>
              <a:gdLst>
                <a:gd name="T0" fmla="*/ 0 w 3"/>
                <a:gd name="T1" fmla="*/ 0 h 3"/>
                <a:gd name="T2" fmla="*/ 3 w 3"/>
                <a:gd name="T3" fmla="*/ 3 h 3"/>
                <a:gd name="T4" fmla="*/ 0 w 3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1" y="1"/>
                    <a:pt x="2" y="2"/>
                    <a:pt x="3" y="3"/>
                  </a:cubicBezTo>
                  <a:cubicBezTo>
                    <a:pt x="1" y="3"/>
                    <a:pt x="1" y="3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3" name="Freeform 189">
              <a:extLst>
                <a:ext uri="{FF2B5EF4-FFF2-40B4-BE49-F238E27FC236}">
                  <a16:creationId xmlns:a16="http://schemas.microsoft.com/office/drawing/2014/main" id="{A60ADA72-731C-4B51-BA05-DCE585BC4A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2925" y="2032001"/>
              <a:ext cx="12700" cy="11113"/>
            </a:xfrm>
            <a:custGeom>
              <a:avLst/>
              <a:gdLst>
                <a:gd name="T0" fmla="*/ 0 w 3"/>
                <a:gd name="T1" fmla="*/ 3 h 3"/>
                <a:gd name="T2" fmla="*/ 3 w 3"/>
                <a:gd name="T3" fmla="*/ 0 h 3"/>
                <a:gd name="T4" fmla="*/ 0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cubicBezTo>
                    <a:pt x="1" y="2"/>
                    <a:pt x="2" y="1"/>
                    <a:pt x="3" y="0"/>
                  </a:cubicBezTo>
                  <a:cubicBezTo>
                    <a:pt x="3" y="2"/>
                    <a:pt x="1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4" name="Freeform 190">
              <a:extLst>
                <a:ext uri="{FF2B5EF4-FFF2-40B4-BE49-F238E27FC236}">
                  <a16:creationId xmlns:a16="http://schemas.microsoft.com/office/drawing/2014/main" id="{81B41890-5D81-4BFD-97E3-FAD1309D6D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063875" y="2484438"/>
              <a:ext cx="11113" cy="7938"/>
            </a:xfrm>
            <a:custGeom>
              <a:avLst/>
              <a:gdLst>
                <a:gd name="T0" fmla="*/ 3 w 3"/>
                <a:gd name="T1" fmla="*/ 2 h 2"/>
                <a:gd name="T2" fmla="*/ 0 w 3"/>
                <a:gd name="T3" fmla="*/ 1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cubicBezTo>
                    <a:pt x="2" y="2"/>
                    <a:pt x="1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1"/>
                    <a:pt x="3" y="0"/>
                    <a:pt x="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5" name="Oval 191">
              <a:extLst>
                <a:ext uri="{FF2B5EF4-FFF2-40B4-BE49-F238E27FC236}">
                  <a16:creationId xmlns:a16="http://schemas.microsoft.com/office/drawing/2014/main" id="{BDFE31A1-52D0-4A1B-939E-95494A297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0688" y="2247901"/>
              <a:ext cx="28575" cy="317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06CC36F6-E12C-4F5D-ABAC-1CD505362F38}"/>
              </a:ext>
            </a:extLst>
          </p:cNvPr>
          <p:cNvGrpSpPr/>
          <p:nvPr/>
        </p:nvGrpSpPr>
        <p:grpSpPr>
          <a:xfrm>
            <a:off x="10279411" y="5929402"/>
            <a:ext cx="475050" cy="474366"/>
            <a:chOff x="2372917" y="798514"/>
            <a:chExt cx="546100" cy="531813"/>
          </a:xfrm>
          <a:solidFill>
            <a:srgbClr val="EEEEEE"/>
          </a:solidFill>
        </p:grpSpPr>
        <p:sp>
          <p:nvSpPr>
            <p:cNvPr id="77" name="Freeform 2050">
              <a:extLst>
                <a:ext uri="{FF2B5EF4-FFF2-40B4-BE49-F238E27FC236}">
                  <a16:creationId xmlns:a16="http://schemas.microsoft.com/office/drawing/2014/main" id="{E6F18EEA-EA34-4BCC-B1DA-0767593C36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2917" y="798514"/>
              <a:ext cx="546100" cy="531813"/>
            </a:xfrm>
            <a:custGeom>
              <a:avLst/>
              <a:gdLst>
                <a:gd name="T0" fmla="*/ 389 w 544"/>
                <a:gd name="T1" fmla="*/ 19 h 530"/>
                <a:gd name="T2" fmla="*/ 440 w 544"/>
                <a:gd name="T3" fmla="*/ 42 h 530"/>
                <a:gd name="T4" fmla="*/ 503 w 544"/>
                <a:gd name="T5" fmla="*/ 118 h 530"/>
                <a:gd name="T6" fmla="*/ 516 w 544"/>
                <a:gd name="T7" fmla="*/ 149 h 530"/>
                <a:gd name="T8" fmla="*/ 542 w 544"/>
                <a:gd name="T9" fmla="*/ 235 h 530"/>
                <a:gd name="T10" fmla="*/ 541 w 544"/>
                <a:gd name="T11" fmla="*/ 292 h 530"/>
                <a:gd name="T12" fmla="*/ 519 w 544"/>
                <a:gd name="T13" fmla="*/ 373 h 530"/>
                <a:gd name="T14" fmla="*/ 459 w 544"/>
                <a:gd name="T15" fmla="*/ 462 h 530"/>
                <a:gd name="T16" fmla="*/ 392 w 544"/>
                <a:gd name="T17" fmla="*/ 504 h 530"/>
                <a:gd name="T18" fmla="*/ 316 w 544"/>
                <a:gd name="T19" fmla="*/ 525 h 530"/>
                <a:gd name="T20" fmla="*/ 271 w 544"/>
                <a:gd name="T21" fmla="*/ 530 h 530"/>
                <a:gd name="T22" fmla="*/ 230 w 544"/>
                <a:gd name="T23" fmla="*/ 528 h 530"/>
                <a:gd name="T24" fmla="*/ 178 w 544"/>
                <a:gd name="T25" fmla="*/ 515 h 530"/>
                <a:gd name="T26" fmla="*/ 151 w 544"/>
                <a:gd name="T27" fmla="*/ 508 h 530"/>
                <a:gd name="T28" fmla="*/ 99 w 544"/>
                <a:gd name="T29" fmla="*/ 474 h 530"/>
                <a:gd name="T30" fmla="*/ 72 w 544"/>
                <a:gd name="T31" fmla="*/ 448 h 530"/>
                <a:gd name="T32" fmla="*/ 39 w 544"/>
                <a:gd name="T33" fmla="*/ 399 h 530"/>
                <a:gd name="T34" fmla="*/ 12 w 544"/>
                <a:gd name="T35" fmla="*/ 337 h 530"/>
                <a:gd name="T36" fmla="*/ 2 w 544"/>
                <a:gd name="T37" fmla="*/ 272 h 530"/>
                <a:gd name="T38" fmla="*/ 2 w 544"/>
                <a:gd name="T39" fmla="*/ 229 h 530"/>
                <a:gd name="T40" fmla="*/ 13 w 544"/>
                <a:gd name="T41" fmla="*/ 181 h 530"/>
                <a:gd name="T42" fmla="*/ 43 w 544"/>
                <a:gd name="T43" fmla="*/ 130 h 530"/>
                <a:gd name="T44" fmla="*/ 84 w 544"/>
                <a:gd name="T45" fmla="*/ 88 h 530"/>
                <a:gd name="T46" fmla="*/ 135 w 544"/>
                <a:gd name="T47" fmla="*/ 51 h 530"/>
                <a:gd name="T48" fmla="*/ 174 w 544"/>
                <a:gd name="T49" fmla="*/ 24 h 530"/>
                <a:gd name="T50" fmla="*/ 234 w 544"/>
                <a:gd name="T51" fmla="*/ 9 h 530"/>
                <a:gd name="T52" fmla="*/ 293 w 544"/>
                <a:gd name="T53" fmla="*/ 2 h 530"/>
                <a:gd name="T54" fmla="*/ 342 w 544"/>
                <a:gd name="T55" fmla="*/ 3 h 530"/>
                <a:gd name="T56" fmla="*/ 376 w 544"/>
                <a:gd name="T57" fmla="*/ 11 h 530"/>
                <a:gd name="T58" fmla="*/ 526 w 544"/>
                <a:gd name="T59" fmla="*/ 194 h 530"/>
                <a:gd name="T60" fmla="*/ 500 w 544"/>
                <a:gd name="T61" fmla="*/ 134 h 530"/>
                <a:gd name="T62" fmla="*/ 457 w 544"/>
                <a:gd name="T63" fmla="*/ 67 h 530"/>
                <a:gd name="T64" fmla="*/ 410 w 544"/>
                <a:gd name="T65" fmla="*/ 38 h 530"/>
                <a:gd name="T66" fmla="*/ 362 w 544"/>
                <a:gd name="T67" fmla="*/ 23 h 530"/>
                <a:gd name="T68" fmla="*/ 317 w 544"/>
                <a:gd name="T69" fmla="*/ 12 h 530"/>
                <a:gd name="T70" fmla="*/ 256 w 544"/>
                <a:gd name="T71" fmla="*/ 12 h 530"/>
                <a:gd name="T72" fmla="*/ 187 w 544"/>
                <a:gd name="T73" fmla="*/ 28 h 530"/>
                <a:gd name="T74" fmla="*/ 142 w 544"/>
                <a:gd name="T75" fmla="*/ 53 h 530"/>
                <a:gd name="T76" fmla="*/ 108 w 544"/>
                <a:gd name="T77" fmla="*/ 78 h 530"/>
                <a:gd name="T78" fmla="*/ 64 w 544"/>
                <a:gd name="T79" fmla="*/ 117 h 530"/>
                <a:gd name="T80" fmla="*/ 21 w 544"/>
                <a:gd name="T81" fmla="*/ 177 h 530"/>
                <a:gd name="T82" fmla="*/ 9 w 544"/>
                <a:gd name="T83" fmla="*/ 222 h 530"/>
                <a:gd name="T84" fmla="*/ 10 w 544"/>
                <a:gd name="T85" fmla="*/ 284 h 530"/>
                <a:gd name="T86" fmla="*/ 21 w 544"/>
                <a:gd name="T87" fmla="*/ 343 h 530"/>
                <a:gd name="T88" fmla="*/ 51 w 544"/>
                <a:gd name="T89" fmla="*/ 407 h 530"/>
                <a:gd name="T90" fmla="*/ 86 w 544"/>
                <a:gd name="T91" fmla="*/ 452 h 530"/>
                <a:gd name="T92" fmla="*/ 145 w 544"/>
                <a:gd name="T93" fmla="*/ 496 h 530"/>
                <a:gd name="T94" fmla="*/ 218 w 544"/>
                <a:gd name="T95" fmla="*/ 519 h 530"/>
                <a:gd name="T96" fmla="*/ 272 w 544"/>
                <a:gd name="T97" fmla="*/ 522 h 530"/>
                <a:gd name="T98" fmla="*/ 346 w 544"/>
                <a:gd name="T99" fmla="*/ 510 h 530"/>
                <a:gd name="T100" fmla="*/ 410 w 544"/>
                <a:gd name="T101" fmla="*/ 486 h 530"/>
                <a:gd name="T102" fmla="*/ 455 w 544"/>
                <a:gd name="T103" fmla="*/ 453 h 530"/>
                <a:gd name="T104" fmla="*/ 491 w 544"/>
                <a:gd name="T105" fmla="*/ 405 h 530"/>
                <a:gd name="T106" fmla="*/ 516 w 544"/>
                <a:gd name="T107" fmla="*/ 360 h 530"/>
                <a:gd name="T108" fmla="*/ 528 w 544"/>
                <a:gd name="T109" fmla="*/ 313 h 530"/>
                <a:gd name="T110" fmla="*/ 535 w 544"/>
                <a:gd name="T111" fmla="*/ 24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44" h="530">
                  <a:moveTo>
                    <a:pt x="376" y="11"/>
                  </a:moveTo>
                  <a:cubicBezTo>
                    <a:pt x="376" y="12"/>
                    <a:pt x="375" y="13"/>
                    <a:pt x="375" y="15"/>
                  </a:cubicBezTo>
                  <a:cubicBezTo>
                    <a:pt x="379" y="16"/>
                    <a:pt x="384" y="17"/>
                    <a:pt x="389" y="19"/>
                  </a:cubicBezTo>
                  <a:cubicBezTo>
                    <a:pt x="392" y="20"/>
                    <a:pt x="395" y="21"/>
                    <a:pt x="398" y="23"/>
                  </a:cubicBezTo>
                  <a:cubicBezTo>
                    <a:pt x="404" y="25"/>
                    <a:pt x="410" y="27"/>
                    <a:pt x="416" y="29"/>
                  </a:cubicBezTo>
                  <a:cubicBezTo>
                    <a:pt x="424" y="32"/>
                    <a:pt x="433" y="36"/>
                    <a:pt x="440" y="42"/>
                  </a:cubicBezTo>
                  <a:cubicBezTo>
                    <a:pt x="447" y="48"/>
                    <a:pt x="456" y="54"/>
                    <a:pt x="463" y="60"/>
                  </a:cubicBezTo>
                  <a:cubicBezTo>
                    <a:pt x="471" y="68"/>
                    <a:pt x="477" y="77"/>
                    <a:pt x="483" y="87"/>
                  </a:cubicBezTo>
                  <a:cubicBezTo>
                    <a:pt x="489" y="97"/>
                    <a:pt x="497" y="107"/>
                    <a:pt x="503" y="118"/>
                  </a:cubicBezTo>
                  <a:cubicBezTo>
                    <a:pt x="505" y="122"/>
                    <a:pt x="506" y="127"/>
                    <a:pt x="508" y="132"/>
                  </a:cubicBezTo>
                  <a:cubicBezTo>
                    <a:pt x="510" y="136"/>
                    <a:pt x="512" y="140"/>
                    <a:pt x="514" y="144"/>
                  </a:cubicBezTo>
                  <a:cubicBezTo>
                    <a:pt x="515" y="146"/>
                    <a:pt x="516" y="147"/>
                    <a:pt x="516" y="149"/>
                  </a:cubicBezTo>
                  <a:cubicBezTo>
                    <a:pt x="519" y="157"/>
                    <a:pt x="523" y="165"/>
                    <a:pt x="526" y="173"/>
                  </a:cubicBezTo>
                  <a:cubicBezTo>
                    <a:pt x="529" y="181"/>
                    <a:pt x="532" y="190"/>
                    <a:pt x="535" y="198"/>
                  </a:cubicBezTo>
                  <a:cubicBezTo>
                    <a:pt x="540" y="210"/>
                    <a:pt x="541" y="223"/>
                    <a:pt x="542" y="235"/>
                  </a:cubicBezTo>
                  <a:cubicBezTo>
                    <a:pt x="542" y="241"/>
                    <a:pt x="543" y="247"/>
                    <a:pt x="543" y="253"/>
                  </a:cubicBezTo>
                  <a:cubicBezTo>
                    <a:pt x="543" y="262"/>
                    <a:pt x="544" y="270"/>
                    <a:pt x="541" y="279"/>
                  </a:cubicBezTo>
                  <a:cubicBezTo>
                    <a:pt x="540" y="283"/>
                    <a:pt x="541" y="287"/>
                    <a:pt x="541" y="292"/>
                  </a:cubicBezTo>
                  <a:cubicBezTo>
                    <a:pt x="541" y="293"/>
                    <a:pt x="540" y="295"/>
                    <a:pt x="540" y="296"/>
                  </a:cubicBezTo>
                  <a:cubicBezTo>
                    <a:pt x="537" y="310"/>
                    <a:pt x="534" y="323"/>
                    <a:pt x="531" y="336"/>
                  </a:cubicBezTo>
                  <a:cubicBezTo>
                    <a:pt x="528" y="349"/>
                    <a:pt x="526" y="361"/>
                    <a:pt x="519" y="373"/>
                  </a:cubicBezTo>
                  <a:cubicBezTo>
                    <a:pt x="511" y="386"/>
                    <a:pt x="505" y="399"/>
                    <a:pt x="497" y="412"/>
                  </a:cubicBezTo>
                  <a:cubicBezTo>
                    <a:pt x="489" y="424"/>
                    <a:pt x="483" y="437"/>
                    <a:pt x="473" y="447"/>
                  </a:cubicBezTo>
                  <a:cubicBezTo>
                    <a:pt x="468" y="452"/>
                    <a:pt x="464" y="457"/>
                    <a:pt x="459" y="462"/>
                  </a:cubicBezTo>
                  <a:cubicBezTo>
                    <a:pt x="456" y="465"/>
                    <a:pt x="452" y="468"/>
                    <a:pt x="448" y="471"/>
                  </a:cubicBezTo>
                  <a:cubicBezTo>
                    <a:pt x="437" y="478"/>
                    <a:pt x="427" y="486"/>
                    <a:pt x="416" y="493"/>
                  </a:cubicBezTo>
                  <a:cubicBezTo>
                    <a:pt x="409" y="497"/>
                    <a:pt x="400" y="501"/>
                    <a:pt x="392" y="504"/>
                  </a:cubicBezTo>
                  <a:cubicBezTo>
                    <a:pt x="381" y="508"/>
                    <a:pt x="370" y="511"/>
                    <a:pt x="358" y="514"/>
                  </a:cubicBezTo>
                  <a:cubicBezTo>
                    <a:pt x="350" y="517"/>
                    <a:pt x="342" y="520"/>
                    <a:pt x="333" y="522"/>
                  </a:cubicBezTo>
                  <a:cubicBezTo>
                    <a:pt x="327" y="523"/>
                    <a:pt x="322" y="524"/>
                    <a:pt x="316" y="525"/>
                  </a:cubicBezTo>
                  <a:cubicBezTo>
                    <a:pt x="311" y="526"/>
                    <a:pt x="306" y="526"/>
                    <a:pt x="300" y="527"/>
                  </a:cubicBezTo>
                  <a:cubicBezTo>
                    <a:pt x="294" y="528"/>
                    <a:pt x="287" y="529"/>
                    <a:pt x="281" y="529"/>
                  </a:cubicBezTo>
                  <a:cubicBezTo>
                    <a:pt x="277" y="530"/>
                    <a:pt x="274" y="530"/>
                    <a:pt x="271" y="530"/>
                  </a:cubicBezTo>
                  <a:cubicBezTo>
                    <a:pt x="268" y="530"/>
                    <a:pt x="264" y="529"/>
                    <a:pt x="261" y="529"/>
                  </a:cubicBezTo>
                  <a:cubicBezTo>
                    <a:pt x="256" y="529"/>
                    <a:pt x="251" y="530"/>
                    <a:pt x="245" y="530"/>
                  </a:cubicBezTo>
                  <a:cubicBezTo>
                    <a:pt x="240" y="530"/>
                    <a:pt x="235" y="529"/>
                    <a:pt x="230" y="528"/>
                  </a:cubicBezTo>
                  <a:cubicBezTo>
                    <a:pt x="226" y="528"/>
                    <a:pt x="223" y="527"/>
                    <a:pt x="219" y="527"/>
                  </a:cubicBezTo>
                  <a:cubicBezTo>
                    <a:pt x="211" y="526"/>
                    <a:pt x="204" y="524"/>
                    <a:pt x="197" y="521"/>
                  </a:cubicBezTo>
                  <a:cubicBezTo>
                    <a:pt x="191" y="518"/>
                    <a:pt x="184" y="517"/>
                    <a:pt x="178" y="515"/>
                  </a:cubicBezTo>
                  <a:cubicBezTo>
                    <a:pt x="176" y="514"/>
                    <a:pt x="174" y="513"/>
                    <a:pt x="172" y="513"/>
                  </a:cubicBezTo>
                  <a:cubicBezTo>
                    <a:pt x="168" y="512"/>
                    <a:pt x="163" y="511"/>
                    <a:pt x="158" y="510"/>
                  </a:cubicBezTo>
                  <a:cubicBezTo>
                    <a:pt x="156" y="510"/>
                    <a:pt x="153" y="509"/>
                    <a:pt x="151" y="508"/>
                  </a:cubicBezTo>
                  <a:cubicBezTo>
                    <a:pt x="145" y="505"/>
                    <a:pt x="139" y="502"/>
                    <a:pt x="132" y="499"/>
                  </a:cubicBezTo>
                  <a:cubicBezTo>
                    <a:pt x="129" y="497"/>
                    <a:pt x="125" y="495"/>
                    <a:pt x="122" y="493"/>
                  </a:cubicBezTo>
                  <a:cubicBezTo>
                    <a:pt x="114" y="487"/>
                    <a:pt x="106" y="480"/>
                    <a:pt x="99" y="474"/>
                  </a:cubicBezTo>
                  <a:cubicBezTo>
                    <a:pt x="97" y="473"/>
                    <a:pt x="97" y="472"/>
                    <a:pt x="95" y="471"/>
                  </a:cubicBezTo>
                  <a:cubicBezTo>
                    <a:pt x="91" y="467"/>
                    <a:pt x="87" y="463"/>
                    <a:pt x="82" y="459"/>
                  </a:cubicBezTo>
                  <a:cubicBezTo>
                    <a:pt x="79" y="455"/>
                    <a:pt x="76" y="452"/>
                    <a:pt x="72" y="448"/>
                  </a:cubicBezTo>
                  <a:cubicBezTo>
                    <a:pt x="70" y="446"/>
                    <a:pt x="68" y="443"/>
                    <a:pt x="65" y="441"/>
                  </a:cubicBezTo>
                  <a:cubicBezTo>
                    <a:pt x="58" y="435"/>
                    <a:pt x="54" y="427"/>
                    <a:pt x="49" y="419"/>
                  </a:cubicBezTo>
                  <a:cubicBezTo>
                    <a:pt x="46" y="412"/>
                    <a:pt x="42" y="405"/>
                    <a:pt x="39" y="399"/>
                  </a:cubicBezTo>
                  <a:cubicBezTo>
                    <a:pt x="33" y="387"/>
                    <a:pt x="28" y="376"/>
                    <a:pt x="23" y="365"/>
                  </a:cubicBezTo>
                  <a:cubicBezTo>
                    <a:pt x="20" y="359"/>
                    <a:pt x="17" y="353"/>
                    <a:pt x="14" y="346"/>
                  </a:cubicBezTo>
                  <a:cubicBezTo>
                    <a:pt x="13" y="344"/>
                    <a:pt x="12" y="340"/>
                    <a:pt x="12" y="337"/>
                  </a:cubicBezTo>
                  <a:cubicBezTo>
                    <a:pt x="10" y="328"/>
                    <a:pt x="9" y="319"/>
                    <a:pt x="8" y="310"/>
                  </a:cubicBezTo>
                  <a:cubicBezTo>
                    <a:pt x="7" y="301"/>
                    <a:pt x="6" y="293"/>
                    <a:pt x="4" y="284"/>
                  </a:cubicBezTo>
                  <a:cubicBezTo>
                    <a:pt x="4" y="280"/>
                    <a:pt x="3" y="276"/>
                    <a:pt x="2" y="272"/>
                  </a:cubicBezTo>
                  <a:cubicBezTo>
                    <a:pt x="2" y="264"/>
                    <a:pt x="2" y="256"/>
                    <a:pt x="2" y="248"/>
                  </a:cubicBezTo>
                  <a:cubicBezTo>
                    <a:pt x="2" y="246"/>
                    <a:pt x="2" y="245"/>
                    <a:pt x="1" y="244"/>
                  </a:cubicBezTo>
                  <a:cubicBezTo>
                    <a:pt x="0" y="239"/>
                    <a:pt x="1" y="234"/>
                    <a:pt x="2" y="229"/>
                  </a:cubicBezTo>
                  <a:cubicBezTo>
                    <a:pt x="2" y="223"/>
                    <a:pt x="5" y="217"/>
                    <a:pt x="6" y="211"/>
                  </a:cubicBezTo>
                  <a:cubicBezTo>
                    <a:pt x="7" y="207"/>
                    <a:pt x="7" y="203"/>
                    <a:pt x="8" y="199"/>
                  </a:cubicBezTo>
                  <a:cubicBezTo>
                    <a:pt x="9" y="193"/>
                    <a:pt x="12" y="187"/>
                    <a:pt x="13" y="181"/>
                  </a:cubicBezTo>
                  <a:cubicBezTo>
                    <a:pt x="14" y="176"/>
                    <a:pt x="16" y="172"/>
                    <a:pt x="18" y="167"/>
                  </a:cubicBezTo>
                  <a:cubicBezTo>
                    <a:pt x="20" y="162"/>
                    <a:pt x="23" y="157"/>
                    <a:pt x="26" y="152"/>
                  </a:cubicBezTo>
                  <a:cubicBezTo>
                    <a:pt x="32" y="145"/>
                    <a:pt x="37" y="137"/>
                    <a:pt x="43" y="130"/>
                  </a:cubicBezTo>
                  <a:cubicBezTo>
                    <a:pt x="47" y="125"/>
                    <a:pt x="51" y="121"/>
                    <a:pt x="55" y="117"/>
                  </a:cubicBezTo>
                  <a:cubicBezTo>
                    <a:pt x="62" y="109"/>
                    <a:pt x="70" y="101"/>
                    <a:pt x="77" y="93"/>
                  </a:cubicBezTo>
                  <a:cubicBezTo>
                    <a:pt x="79" y="91"/>
                    <a:pt x="82" y="90"/>
                    <a:pt x="84" y="88"/>
                  </a:cubicBezTo>
                  <a:cubicBezTo>
                    <a:pt x="85" y="87"/>
                    <a:pt x="87" y="86"/>
                    <a:pt x="87" y="85"/>
                  </a:cubicBezTo>
                  <a:cubicBezTo>
                    <a:pt x="94" y="77"/>
                    <a:pt x="104" y="72"/>
                    <a:pt x="112" y="65"/>
                  </a:cubicBezTo>
                  <a:cubicBezTo>
                    <a:pt x="119" y="58"/>
                    <a:pt x="128" y="57"/>
                    <a:pt x="135" y="51"/>
                  </a:cubicBezTo>
                  <a:cubicBezTo>
                    <a:pt x="140" y="46"/>
                    <a:pt x="146" y="42"/>
                    <a:pt x="152" y="37"/>
                  </a:cubicBezTo>
                  <a:cubicBezTo>
                    <a:pt x="155" y="35"/>
                    <a:pt x="158" y="33"/>
                    <a:pt x="162" y="31"/>
                  </a:cubicBezTo>
                  <a:cubicBezTo>
                    <a:pt x="166" y="29"/>
                    <a:pt x="170" y="26"/>
                    <a:pt x="174" y="24"/>
                  </a:cubicBezTo>
                  <a:cubicBezTo>
                    <a:pt x="180" y="21"/>
                    <a:pt x="186" y="18"/>
                    <a:pt x="192" y="18"/>
                  </a:cubicBezTo>
                  <a:cubicBezTo>
                    <a:pt x="199" y="17"/>
                    <a:pt x="206" y="16"/>
                    <a:pt x="212" y="15"/>
                  </a:cubicBezTo>
                  <a:cubicBezTo>
                    <a:pt x="220" y="13"/>
                    <a:pt x="227" y="11"/>
                    <a:pt x="234" y="9"/>
                  </a:cubicBezTo>
                  <a:cubicBezTo>
                    <a:pt x="236" y="8"/>
                    <a:pt x="238" y="7"/>
                    <a:pt x="240" y="6"/>
                  </a:cubicBezTo>
                  <a:cubicBezTo>
                    <a:pt x="246" y="4"/>
                    <a:pt x="252" y="4"/>
                    <a:pt x="258" y="3"/>
                  </a:cubicBezTo>
                  <a:cubicBezTo>
                    <a:pt x="270" y="2"/>
                    <a:pt x="281" y="3"/>
                    <a:pt x="293" y="2"/>
                  </a:cubicBezTo>
                  <a:cubicBezTo>
                    <a:pt x="296" y="2"/>
                    <a:pt x="300" y="2"/>
                    <a:pt x="304" y="1"/>
                  </a:cubicBezTo>
                  <a:cubicBezTo>
                    <a:pt x="315" y="0"/>
                    <a:pt x="325" y="2"/>
                    <a:pt x="336" y="1"/>
                  </a:cubicBezTo>
                  <a:cubicBezTo>
                    <a:pt x="338" y="1"/>
                    <a:pt x="340" y="2"/>
                    <a:pt x="342" y="3"/>
                  </a:cubicBezTo>
                  <a:cubicBezTo>
                    <a:pt x="343" y="3"/>
                    <a:pt x="344" y="4"/>
                    <a:pt x="346" y="4"/>
                  </a:cubicBezTo>
                  <a:cubicBezTo>
                    <a:pt x="349" y="4"/>
                    <a:pt x="352" y="5"/>
                    <a:pt x="355" y="6"/>
                  </a:cubicBezTo>
                  <a:cubicBezTo>
                    <a:pt x="362" y="9"/>
                    <a:pt x="368" y="9"/>
                    <a:pt x="376" y="11"/>
                  </a:cubicBezTo>
                  <a:moveTo>
                    <a:pt x="533" y="221"/>
                  </a:moveTo>
                  <a:cubicBezTo>
                    <a:pt x="530" y="218"/>
                    <a:pt x="533" y="213"/>
                    <a:pt x="530" y="208"/>
                  </a:cubicBezTo>
                  <a:cubicBezTo>
                    <a:pt x="527" y="205"/>
                    <a:pt x="527" y="199"/>
                    <a:pt x="526" y="194"/>
                  </a:cubicBezTo>
                  <a:cubicBezTo>
                    <a:pt x="524" y="188"/>
                    <a:pt x="521" y="182"/>
                    <a:pt x="519" y="176"/>
                  </a:cubicBezTo>
                  <a:cubicBezTo>
                    <a:pt x="518" y="173"/>
                    <a:pt x="517" y="169"/>
                    <a:pt x="515" y="166"/>
                  </a:cubicBezTo>
                  <a:cubicBezTo>
                    <a:pt x="510" y="155"/>
                    <a:pt x="506" y="145"/>
                    <a:pt x="500" y="134"/>
                  </a:cubicBezTo>
                  <a:cubicBezTo>
                    <a:pt x="496" y="125"/>
                    <a:pt x="490" y="116"/>
                    <a:pt x="485" y="107"/>
                  </a:cubicBezTo>
                  <a:cubicBezTo>
                    <a:pt x="482" y="101"/>
                    <a:pt x="477" y="95"/>
                    <a:pt x="474" y="89"/>
                  </a:cubicBezTo>
                  <a:cubicBezTo>
                    <a:pt x="470" y="80"/>
                    <a:pt x="463" y="74"/>
                    <a:pt x="457" y="67"/>
                  </a:cubicBezTo>
                  <a:cubicBezTo>
                    <a:pt x="454" y="62"/>
                    <a:pt x="448" y="59"/>
                    <a:pt x="443" y="55"/>
                  </a:cubicBezTo>
                  <a:cubicBezTo>
                    <a:pt x="437" y="51"/>
                    <a:pt x="431" y="47"/>
                    <a:pt x="425" y="43"/>
                  </a:cubicBezTo>
                  <a:cubicBezTo>
                    <a:pt x="420" y="41"/>
                    <a:pt x="415" y="39"/>
                    <a:pt x="410" y="38"/>
                  </a:cubicBezTo>
                  <a:cubicBezTo>
                    <a:pt x="402" y="35"/>
                    <a:pt x="395" y="31"/>
                    <a:pt x="387" y="28"/>
                  </a:cubicBezTo>
                  <a:cubicBezTo>
                    <a:pt x="383" y="27"/>
                    <a:pt x="379" y="27"/>
                    <a:pt x="375" y="26"/>
                  </a:cubicBezTo>
                  <a:cubicBezTo>
                    <a:pt x="371" y="25"/>
                    <a:pt x="366" y="24"/>
                    <a:pt x="362" y="23"/>
                  </a:cubicBezTo>
                  <a:cubicBezTo>
                    <a:pt x="356" y="21"/>
                    <a:pt x="349" y="21"/>
                    <a:pt x="344" y="16"/>
                  </a:cubicBezTo>
                  <a:cubicBezTo>
                    <a:pt x="341" y="12"/>
                    <a:pt x="337" y="12"/>
                    <a:pt x="334" y="12"/>
                  </a:cubicBezTo>
                  <a:cubicBezTo>
                    <a:pt x="328" y="11"/>
                    <a:pt x="322" y="12"/>
                    <a:pt x="317" y="12"/>
                  </a:cubicBezTo>
                  <a:cubicBezTo>
                    <a:pt x="308" y="12"/>
                    <a:pt x="300" y="12"/>
                    <a:pt x="292" y="11"/>
                  </a:cubicBezTo>
                  <a:cubicBezTo>
                    <a:pt x="286" y="11"/>
                    <a:pt x="280" y="11"/>
                    <a:pt x="274" y="11"/>
                  </a:cubicBezTo>
                  <a:cubicBezTo>
                    <a:pt x="268" y="11"/>
                    <a:pt x="262" y="12"/>
                    <a:pt x="256" y="12"/>
                  </a:cubicBezTo>
                  <a:cubicBezTo>
                    <a:pt x="253" y="12"/>
                    <a:pt x="250" y="12"/>
                    <a:pt x="247" y="13"/>
                  </a:cubicBezTo>
                  <a:cubicBezTo>
                    <a:pt x="242" y="14"/>
                    <a:pt x="236" y="15"/>
                    <a:pt x="231" y="17"/>
                  </a:cubicBezTo>
                  <a:cubicBezTo>
                    <a:pt x="217" y="24"/>
                    <a:pt x="202" y="25"/>
                    <a:pt x="187" y="28"/>
                  </a:cubicBezTo>
                  <a:cubicBezTo>
                    <a:pt x="183" y="29"/>
                    <a:pt x="179" y="31"/>
                    <a:pt x="175" y="33"/>
                  </a:cubicBezTo>
                  <a:cubicBezTo>
                    <a:pt x="169" y="36"/>
                    <a:pt x="163" y="41"/>
                    <a:pt x="157" y="45"/>
                  </a:cubicBezTo>
                  <a:cubicBezTo>
                    <a:pt x="152" y="48"/>
                    <a:pt x="147" y="50"/>
                    <a:pt x="142" y="53"/>
                  </a:cubicBezTo>
                  <a:cubicBezTo>
                    <a:pt x="140" y="55"/>
                    <a:pt x="139" y="57"/>
                    <a:pt x="137" y="58"/>
                  </a:cubicBezTo>
                  <a:cubicBezTo>
                    <a:pt x="130" y="62"/>
                    <a:pt x="124" y="66"/>
                    <a:pt x="118" y="70"/>
                  </a:cubicBezTo>
                  <a:cubicBezTo>
                    <a:pt x="114" y="73"/>
                    <a:pt x="112" y="76"/>
                    <a:pt x="108" y="78"/>
                  </a:cubicBezTo>
                  <a:cubicBezTo>
                    <a:pt x="97" y="85"/>
                    <a:pt x="87" y="95"/>
                    <a:pt x="77" y="104"/>
                  </a:cubicBezTo>
                  <a:cubicBezTo>
                    <a:pt x="75" y="106"/>
                    <a:pt x="72" y="109"/>
                    <a:pt x="70" y="112"/>
                  </a:cubicBezTo>
                  <a:cubicBezTo>
                    <a:pt x="68" y="114"/>
                    <a:pt x="66" y="115"/>
                    <a:pt x="64" y="117"/>
                  </a:cubicBezTo>
                  <a:cubicBezTo>
                    <a:pt x="60" y="122"/>
                    <a:pt x="57" y="127"/>
                    <a:pt x="52" y="132"/>
                  </a:cubicBezTo>
                  <a:cubicBezTo>
                    <a:pt x="46" y="137"/>
                    <a:pt x="40" y="143"/>
                    <a:pt x="36" y="150"/>
                  </a:cubicBezTo>
                  <a:cubicBezTo>
                    <a:pt x="30" y="159"/>
                    <a:pt x="25" y="167"/>
                    <a:pt x="21" y="177"/>
                  </a:cubicBezTo>
                  <a:cubicBezTo>
                    <a:pt x="18" y="185"/>
                    <a:pt x="15" y="192"/>
                    <a:pt x="14" y="200"/>
                  </a:cubicBezTo>
                  <a:cubicBezTo>
                    <a:pt x="14" y="203"/>
                    <a:pt x="13" y="206"/>
                    <a:pt x="13" y="209"/>
                  </a:cubicBezTo>
                  <a:cubicBezTo>
                    <a:pt x="12" y="213"/>
                    <a:pt x="9" y="218"/>
                    <a:pt x="9" y="222"/>
                  </a:cubicBezTo>
                  <a:cubicBezTo>
                    <a:pt x="8" y="231"/>
                    <a:pt x="8" y="240"/>
                    <a:pt x="7" y="249"/>
                  </a:cubicBezTo>
                  <a:cubicBezTo>
                    <a:pt x="7" y="250"/>
                    <a:pt x="7" y="251"/>
                    <a:pt x="7" y="253"/>
                  </a:cubicBezTo>
                  <a:cubicBezTo>
                    <a:pt x="8" y="263"/>
                    <a:pt x="8" y="274"/>
                    <a:pt x="10" y="284"/>
                  </a:cubicBezTo>
                  <a:cubicBezTo>
                    <a:pt x="10" y="292"/>
                    <a:pt x="11" y="300"/>
                    <a:pt x="13" y="307"/>
                  </a:cubicBezTo>
                  <a:cubicBezTo>
                    <a:pt x="14" y="312"/>
                    <a:pt x="15" y="317"/>
                    <a:pt x="17" y="323"/>
                  </a:cubicBezTo>
                  <a:cubicBezTo>
                    <a:pt x="18" y="329"/>
                    <a:pt x="19" y="336"/>
                    <a:pt x="21" y="343"/>
                  </a:cubicBezTo>
                  <a:cubicBezTo>
                    <a:pt x="22" y="348"/>
                    <a:pt x="25" y="353"/>
                    <a:pt x="27" y="358"/>
                  </a:cubicBezTo>
                  <a:cubicBezTo>
                    <a:pt x="32" y="368"/>
                    <a:pt x="37" y="378"/>
                    <a:pt x="42" y="389"/>
                  </a:cubicBezTo>
                  <a:cubicBezTo>
                    <a:pt x="45" y="395"/>
                    <a:pt x="48" y="401"/>
                    <a:pt x="51" y="407"/>
                  </a:cubicBezTo>
                  <a:cubicBezTo>
                    <a:pt x="54" y="412"/>
                    <a:pt x="57" y="417"/>
                    <a:pt x="60" y="421"/>
                  </a:cubicBezTo>
                  <a:cubicBezTo>
                    <a:pt x="62" y="426"/>
                    <a:pt x="64" y="430"/>
                    <a:pt x="67" y="434"/>
                  </a:cubicBezTo>
                  <a:cubicBezTo>
                    <a:pt x="73" y="440"/>
                    <a:pt x="80" y="446"/>
                    <a:pt x="86" y="452"/>
                  </a:cubicBezTo>
                  <a:cubicBezTo>
                    <a:pt x="89" y="455"/>
                    <a:pt x="92" y="457"/>
                    <a:pt x="95" y="460"/>
                  </a:cubicBezTo>
                  <a:cubicBezTo>
                    <a:pt x="103" y="468"/>
                    <a:pt x="111" y="477"/>
                    <a:pt x="121" y="483"/>
                  </a:cubicBezTo>
                  <a:cubicBezTo>
                    <a:pt x="129" y="488"/>
                    <a:pt x="136" y="493"/>
                    <a:pt x="145" y="496"/>
                  </a:cubicBezTo>
                  <a:cubicBezTo>
                    <a:pt x="152" y="499"/>
                    <a:pt x="159" y="501"/>
                    <a:pt x="166" y="503"/>
                  </a:cubicBezTo>
                  <a:cubicBezTo>
                    <a:pt x="175" y="506"/>
                    <a:pt x="183" y="508"/>
                    <a:pt x="192" y="511"/>
                  </a:cubicBezTo>
                  <a:cubicBezTo>
                    <a:pt x="201" y="514"/>
                    <a:pt x="209" y="518"/>
                    <a:pt x="218" y="519"/>
                  </a:cubicBezTo>
                  <a:cubicBezTo>
                    <a:pt x="227" y="521"/>
                    <a:pt x="235" y="521"/>
                    <a:pt x="244" y="522"/>
                  </a:cubicBezTo>
                  <a:cubicBezTo>
                    <a:pt x="246" y="522"/>
                    <a:pt x="249" y="522"/>
                    <a:pt x="252" y="522"/>
                  </a:cubicBezTo>
                  <a:cubicBezTo>
                    <a:pt x="258" y="522"/>
                    <a:pt x="265" y="522"/>
                    <a:pt x="272" y="522"/>
                  </a:cubicBezTo>
                  <a:cubicBezTo>
                    <a:pt x="280" y="521"/>
                    <a:pt x="289" y="520"/>
                    <a:pt x="298" y="519"/>
                  </a:cubicBezTo>
                  <a:cubicBezTo>
                    <a:pt x="304" y="518"/>
                    <a:pt x="309" y="518"/>
                    <a:pt x="315" y="517"/>
                  </a:cubicBezTo>
                  <a:cubicBezTo>
                    <a:pt x="326" y="515"/>
                    <a:pt x="336" y="512"/>
                    <a:pt x="346" y="510"/>
                  </a:cubicBezTo>
                  <a:cubicBezTo>
                    <a:pt x="347" y="510"/>
                    <a:pt x="348" y="510"/>
                    <a:pt x="349" y="510"/>
                  </a:cubicBezTo>
                  <a:cubicBezTo>
                    <a:pt x="360" y="506"/>
                    <a:pt x="370" y="502"/>
                    <a:pt x="381" y="499"/>
                  </a:cubicBezTo>
                  <a:cubicBezTo>
                    <a:pt x="392" y="496"/>
                    <a:pt x="401" y="492"/>
                    <a:pt x="410" y="486"/>
                  </a:cubicBezTo>
                  <a:cubicBezTo>
                    <a:pt x="419" y="481"/>
                    <a:pt x="428" y="475"/>
                    <a:pt x="436" y="469"/>
                  </a:cubicBezTo>
                  <a:cubicBezTo>
                    <a:pt x="440" y="467"/>
                    <a:pt x="443" y="465"/>
                    <a:pt x="446" y="462"/>
                  </a:cubicBezTo>
                  <a:cubicBezTo>
                    <a:pt x="449" y="459"/>
                    <a:pt x="452" y="455"/>
                    <a:pt x="455" y="453"/>
                  </a:cubicBezTo>
                  <a:cubicBezTo>
                    <a:pt x="464" y="446"/>
                    <a:pt x="470" y="437"/>
                    <a:pt x="477" y="428"/>
                  </a:cubicBezTo>
                  <a:cubicBezTo>
                    <a:pt x="479" y="425"/>
                    <a:pt x="481" y="421"/>
                    <a:pt x="483" y="418"/>
                  </a:cubicBezTo>
                  <a:cubicBezTo>
                    <a:pt x="485" y="414"/>
                    <a:pt x="488" y="409"/>
                    <a:pt x="491" y="405"/>
                  </a:cubicBezTo>
                  <a:cubicBezTo>
                    <a:pt x="492" y="403"/>
                    <a:pt x="493" y="400"/>
                    <a:pt x="494" y="398"/>
                  </a:cubicBezTo>
                  <a:cubicBezTo>
                    <a:pt x="498" y="392"/>
                    <a:pt x="502" y="387"/>
                    <a:pt x="506" y="381"/>
                  </a:cubicBezTo>
                  <a:cubicBezTo>
                    <a:pt x="510" y="374"/>
                    <a:pt x="513" y="367"/>
                    <a:pt x="516" y="360"/>
                  </a:cubicBezTo>
                  <a:cubicBezTo>
                    <a:pt x="519" y="352"/>
                    <a:pt x="521" y="344"/>
                    <a:pt x="523" y="336"/>
                  </a:cubicBezTo>
                  <a:cubicBezTo>
                    <a:pt x="524" y="334"/>
                    <a:pt x="525" y="332"/>
                    <a:pt x="526" y="329"/>
                  </a:cubicBezTo>
                  <a:cubicBezTo>
                    <a:pt x="527" y="324"/>
                    <a:pt x="527" y="318"/>
                    <a:pt x="528" y="313"/>
                  </a:cubicBezTo>
                  <a:cubicBezTo>
                    <a:pt x="529" y="310"/>
                    <a:pt x="530" y="308"/>
                    <a:pt x="530" y="306"/>
                  </a:cubicBezTo>
                  <a:cubicBezTo>
                    <a:pt x="531" y="300"/>
                    <a:pt x="531" y="293"/>
                    <a:pt x="533" y="287"/>
                  </a:cubicBezTo>
                  <a:cubicBezTo>
                    <a:pt x="535" y="274"/>
                    <a:pt x="536" y="261"/>
                    <a:pt x="535" y="248"/>
                  </a:cubicBezTo>
                  <a:cubicBezTo>
                    <a:pt x="534" y="240"/>
                    <a:pt x="534" y="231"/>
                    <a:pt x="533" y="221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8" name="Freeform 2051">
              <a:extLst>
                <a:ext uri="{FF2B5EF4-FFF2-40B4-BE49-F238E27FC236}">
                  <a16:creationId xmlns:a16="http://schemas.microsoft.com/office/drawing/2014/main" id="{D3C350F9-0537-4C9E-B119-1C931AF12F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42767" y="857252"/>
              <a:ext cx="422275" cy="420688"/>
            </a:xfrm>
            <a:custGeom>
              <a:avLst/>
              <a:gdLst>
                <a:gd name="T0" fmla="*/ 159 w 421"/>
                <a:gd name="T1" fmla="*/ 412 h 419"/>
                <a:gd name="T2" fmla="*/ 87 w 421"/>
                <a:gd name="T3" fmla="*/ 379 h 419"/>
                <a:gd name="T4" fmla="*/ 56 w 421"/>
                <a:gd name="T5" fmla="*/ 356 h 419"/>
                <a:gd name="T6" fmla="*/ 12 w 421"/>
                <a:gd name="T7" fmla="*/ 292 h 419"/>
                <a:gd name="T8" fmla="*/ 1 w 421"/>
                <a:gd name="T9" fmla="*/ 258 h 419"/>
                <a:gd name="T10" fmla="*/ 5 w 421"/>
                <a:gd name="T11" fmla="*/ 211 h 419"/>
                <a:gd name="T12" fmla="*/ 8 w 421"/>
                <a:gd name="T13" fmla="*/ 155 h 419"/>
                <a:gd name="T14" fmla="*/ 30 w 421"/>
                <a:gd name="T15" fmla="*/ 91 h 419"/>
                <a:gd name="T16" fmla="*/ 105 w 421"/>
                <a:gd name="T17" fmla="*/ 25 h 419"/>
                <a:gd name="T18" fmla="*/ 160 w 421"/>
                <a:gd name="T19" fmla="*/ 7 h 419"/>
                <a:gd name="T20" fmla="*/ 226 w 421"/>
                <a:gd name="T21" fmla="*/ 1 h 419"/>
                <a:gd name="T22" fmla="*/ 286 w 421"/>
                <a:gd name="T23" fmla="*/ 15 h 419"/>
                <a:gd name="T24" fmla="*/ 340 w 421"/>
                <a:gd name="T25" fmla="*/ 36 h 419"/>
                <a:gd name="T26" fmla="*/ 364 w 421"/>
                <a:gd name="T27" fmla="*/ 59 h 419"/>
                <a:gd name="T28" fmla="*/ 381 w 421"/>
                <a:gd name="T29" fmla="*/ 87 h 419"/>
                <a:gd name="T30" fmla="*/ 401 w 421"/>
                <a:gd name="T31" fmla="*/ 120 h 419"/>
                <a:gd name="T32" fmla="*/ 414 w 421"/>
                <a:gd name="T33" fmla="*/ 168 h 419"/>
                <a:gd name="T34" fmla="*/ 421 w 421"/>
                <a:gd name="T35" fmla="*/ 222 h 419"/>
                <a:gd name="T36" fmla="*/ 418 w 421"/>
                <a:gd name="T37" fmla="*/ 249 h 419"/>
                <a:gd name="T38" fmla="*/ 407 w 421"/>
                <a:gd name="T39" fmla="*/ 290 h 419"/>
                <a:gd name="T40" fmla="*/ 371 w 421"/>
                <a:gd name="T41" fmla="*/ 348 h 419"/>
                <a:gd name="T42" fmla="*/ 329 w 421"/>
                <a:gd name="T43" fmla="*/ 384 h 419"/>
                <a:gd name="T44" fmla="*/ 236 w 421"/>
                <a:gd name="T45" fmla="*/ 417 h 419"/>
                <a:gd name="T46" fmla="*/ 191 w 421"/>
                <a:gd name="T47" fmla="*/ 10 h 419"/>
                <a:gd name="T48" fmla="*/ 112 w 421"/>
                <a:gd name="T49" fmla="*/ 30 h 419"/>
                <a:gd name="T50" fmla="*/ 49 w 421"/>
                <a:gd name="T51" fmla="*/ 74 h 419"/>
                <a:gd name="T52" fmla="*/ 19 w 421"/>
                <a:gd name="T53" fmla="*/ 148 h 419"/>
                <a:gd name="T54" fmla="*/ 14 w 421"/>
                <a:gd name="T55" fmla="*/ 215 h 419"/>
                <a:gd name="T56" fmla="*/ 18 w 421"/>
                <a:gd name="T57" fmla="*/ 284 h 419"/>
                <a:gd name="T58" fmla="*/ 49 w 421"/>
                <a:gd name="T59" fmla="*/ 336 h 419"/>
                <a:gd name="T60" fmla="*/ 94 w 421"/>
                <a:gd name="T61" fmla="*/ 374 h 419"/>
                <a:gd name="T62" fmla="*/ 174 w 421"/>
                <a:gd name="T63" fmla="*/ 408 h 419"/>
                <a:gd name="T64" fmla="*/ 251 w 421"/>
                <a:gd name="T65" fmla="*/ 407 h 419"/>
                <a:gd name="T66" fmla="*/ 311 w 421"/>
                <a:gd name="T67" fmla="*/ 385 h 419"/>
                <a:gd name="T68" fmla="*/ 382 w 421"/>
                <a:gd name="T69" fmla="*/ 316 h 419"/>
                <a:gd name="T70" fmla="*/ 405 w 421"/>
                <a:gd name="T71" fmla="*/ 270 h 419"/>
                <a:gd name="T72" fmla="*/ 410 w 421"/>
                <a:gd name="T73" fmla="*/ 204 h 419"/>
                <a:gd name="T74" fmla="*/ 404 w 421"/>
                <a:gd name="T75" fmla="*/ 165 h 419"/>
                <a:gd name="T76" fmla="*/ 397 w 421"/>
                <a:gd name="T77" fmla="*/ 136 h 419"/>
                <a:gd name="T78" fmla="*/ 379 w 421"/>
                <a:gd name="T79" fmla="*/ 100 h 419"/>
                <a:gd name="T80" fmla="*/ 339 w 421"/>
                <a:gd name="T81" fmla="*/ 44 h 419"/>
                <a:gd name="T82" fmla="*/ 308 w 421"/>
                <a:gd name="T83" fmla="*/ 29 h 419"/>
                <a:gd name="T84" fmla="*/ 240 w 421"/>
                <a:gd name="T85" fmla="*/ 9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1" h="419">
                  <a:moveTo>
                    <a:pt x="229" y="419"/>
                  </a:moveTo>
                  <a:cubicBezTo>
                    <a:pt x="216" y="419"/>
                    <a:pt x="205" y="419"/>
                    <a:pt x="194" y="419"/>
                  </a:cubicBezTo>
                  <a:cubicBezTo>
                    <a:pt x="182" y="418"/>
                    <a:pt x="170" y="416"/>
                    <a:pt x="159" y="412"/>
                  </a:cubicBezTo>
                  <a:cubicBezTo>
                    <a:pt x="151" y="410"/>
                    <a:pt x="143" y="407"/>
                    <a:pt x="136" y="405"/>
                  </a:cubicBezTo>
                  <a:cubicBezTo>
                    <a:pt x="128" y="402"/>
                    <a:pt x="121" y="399"/>
                    <a:pt x="114" y="395"/>
                  </a:cubicBezTo>
                  <a:cubicBezTo>
                    <a:pt x="105" y="390"/>
                    <a:pt x="96" y="385"/>
                    <a:pt x="87" y="379"/>
                  </a:cubicBezTo>
                  <a:cubicBezTo>
                    <a:pt x="82" y="376"/>
                    <a:pt x="78" y="373"/>
                    <a:pt x="73" y="369"/>
                  </a:cubicBezTo>
                  <a:cubicBezTo>
                    <a:pt x="69" y="367"/>
                    <a:pt x="65" y="364"/>
                    <a:pt x="61" y="361"/>
                  </a:cubicBezTo>
                  <a:cubicBezTo>
                    <a:pt x="59" y="360"/>
                    <a:pt x="58" y="358"/>
                    <a:pt x="56" y="356"/>
                  </a:cubicBezTo>
                  <a:cubicBezTo>
                    <a:pt x="52" y="352"/>
                    <a:pt x="48" y="348"/>
                    <a:pt x="45" y="344"/>
                  </a:cubicBezTo>
                  <a:cubicBezTo>
                    <a:pt x="39" y="337"/>
                    <a:pt x="34" y="330"/>
                    <a:pt x="28" y="323"/>
                  </a:cubicBezTo>
                  <a:cubicBezTo>
                    <a:pt x="20" y="314"/>
                    <a:pt x="19" y="302"/>
                    <a:pt x="12" y="292"/>
                  </a:cubicBezTo>
                  <a:cubicBezTo>
                    <a:pt x="10" y="288"/>
                    <a:pt x="9" y="283"/>
                    <a:pt x="8" y="279"/>
                  </a:cubicBezTo>
                  <a:cubicBezTo>
                    <a:pt x="6" y="274"/>
                    <a:pt x="4" y="270"/>
                    <a:pt x="3" y="265"/>
                  </a:cubicBezTo>
                  <a:cubicBezTo>
                    <a:pt x="2" y="263"/>
                    <a:pt x="1" y="260"/>
                    <a:pt x="1" y="258"/>
                  </a:cubicBezTo>
                  <a:cubicBezTo>
                    <a:pt x="2" y="251"/>
                    <a:pt x="3" y="245"/>
                    <a:pt x="1" y="238"/>
                  </a:cubicBezTo>
                  <a:cubicBezTo>
                    <a:pt x="0" y="237"/>
                    <a:pt x="2" y="235"/>
                    <a:pt x="2" y="233"/>
                  </a:cubicBezTo>
                  <a:cubicBezTo>
                    <a:pt x="2" y="226"/>
                    <a:pt x="4" y="218"/>
                    <a:pt x="5" y="211"/>
                  </a:cubicBezTo>
                  <a:cubicBezTo>
                    <a:pt x="7" y="202"/>
                    <a:pt x="6" y="193"/>
                    <a:pt x="7" y="185"/>
                  </a:cubicBezTo>
                  <a:cubicBezTo>
                    <a:pt x="7" y="178"/>
                    <a:pt x="7" y="172"/>
                    <a:pt x="8" y="166"/>
                  </a:cubicBezTo>
                  <a:cubicBezTo>
                    <a:pt x="8" y="162"/>
                    <a:pt x="8" y="158"/>
                    <a:pt x="8" y="155"/>
                  </a:cubicBezTo>
                  <a:cubicBezTo>
                    <a:pt x="9" y="150"/>
                    <a:pt x="11" y="146"/>
                    <a:pt x="12" y="141"/>
                  </a:cubicBezTo>
                  <a:cubicBezTo>
                    <a:pt x="13" y="130"/>
                    <a:pt x="18" y="121"/>
                    <a:pt x="22" y="112"/>
                  </a:cubicBezTo>
                  <a:cubicBezTo>
                    <a:pt x="24" y="105"/>
                    <a:pt x="27" y="98"/>
                    <a:pt x="30" y="91"/>
                  </a:cubicBezTo>
                  <a:cubicBezTo>
                    <a:pt x="34" y="83"/>
                    <a:pt x="38" y="76"/>
                    <a:pt x="43" y="69"/>
                  </a:cubicBezTo>
                  <a:cubicBezTo>
                    <a:pt x="50" y="58"/>
                    <a:pt x="61" y="50"/>
                    <a:pt x="72" y="44"/>
                  </a:cubicBezTo>
                  <a:cubicBezTo>
                    <a:pt x="83" y="37"/>
                    <a:pt x="94" y="31"/>
                    <a:pt x="105" y="25"/>
                  </a:cubicBezTo>
                  <a:cubicBezTo>
                    <a:pt x="110" y="22"/>
                    <a:pt x="115" y="20"/>
                    <a:pt x="121" y="18"/>
                  </a:cubicBezTo>
                  <a:cubicBezTo>
                    <a:pt x="131" y="14"/>
                    <a:pt x="141" y="11"/>
                    <a:pt x="151" y="8"/>
                  </a:cubicBezTo>
                  <a:cubicBezTo>
                    <a:pt x="154" y="7"/>
                    <a:pt x="157" y="7"/>
                    <a:pt x="160" y="7"/>
                  </a:cubicBezTo>
                  <a:cubicBezTo>
                    <a:pt x="169" y="7"/>
                    <a:pt x="178" y="6"/>
                    <a:pt x="187" y="3"/>
                  </a:cubicBezTo>
                  <a:cubicBezTo>
                    <a:pt x="196" y="1"/>
                    <a:pt x="205" y="1"/>
                    <a:pt x="213" y="1"/>
                  </a:cubicBezTo>
                  <a:cubicBezTo>
                    <a:pt x="218" y="0"/>
                    <a:pt x="222" y="0"/>
                    <a:pt x="226" y="1"/>
                  </a:cubicBezTo>
                  <a:cubicBezTo>
                    <a:pt x="233" y="1"/>
                    <a:pt x="239" y="3"/>
                    <a:pt x="245" y="3"/>
                  </a:cubicBezTo>
                  <a:cubicBezTo>
                    <a:pt x="253" y="3"/>
                    <a:pt x="259" y="5"/>
                    <a:pt x="266" y="7"/>
                  </a:cubicBezTo>
                  <a:cubicBezTo>
                    <a:pt x="273" y="9"/>
                    <a:pt x="279" y="12"/>
                    <a:pt x="286" y="15"/>
                  </a:cubicBezTo>
                  <a:cubicBezTo>
                    <a:pt x="293" y="17"/>
                    <a:pt x="300" y="19"/>
                    <a:pt x="307" y="21"/>
                  </a:cubicBezTo>
                  <a:cubicBezTo>
                    <a:pt x="314" y="24"/>
                    <a:pt x="321" y="26"/>
                    <a:pt x="328" y="29"/>
                  </a:cubicBezTo>
                  <a:cubicBezTo>
                    <a:pt x="332" y="31"/>
                    <a:pt x="336" y="34"/>
                    <a:pt x="340" y="36"/>
                  </a:cubicBezTo>
                  <a:cubicBezTo>
                    <a:pt x="344" y="39"/>
                    <a:pt x="349" y="42"/>
                    <a:pt x="353" y="47"/>
                  </a:cubicBezTo>
                  <a:cubicBezTo>
                    <a:pt x="355" y="50"/>
                    <a:pt x="358" y="52"/>
                    <a:pt x="361" y="55"/>
                  </a:cubicBezTo>
                  <a:cubicBezTo>
                    <a:pt x="362" y="56"/>
                    <a:pt x="363" y="57"/>
                    <a:pt x="364" y="59"/>
                  </a:cubicBezTo>
                  <a:cubicBezTo>
                    <a:pt x="364" y="59"/>
                    <a:pt x="364" y="60"/>
                    <a:pt x="365" y="60"/>
                  </a:cubicBezTo>
                  <a:cubicBezTo>
                    <a:pt x="368" y="66"/>
                    <a:pt x="372" y="71"/>
                    <a:pt x="375" y="77"/>
                  </a:cubicBezTo>
                  <a:cubicBezTo>
                    <a:pt x="377" y="80"/>
                    <a:pt x="379" y="83"/>
                    <a:pt x="381" y="87"/>
                  </a:cubicBezTo>
                  <a:cubicBezTo>
                    <a:pt x="385" y="93"/>
                    <a:pt x="389" y="101"/>
                    <a:pt x="393" y="108"/>
                  </a:cubicBezTo>
                  <a:cubicBezTo>
                    <a:pt x="395" y="112"/>
                    <a:pt x="398" y="116"/>
                    <a:pt x="401" y="120"/>
                  </a:cubicBezTo>
                  <a:cubicBezTo>
                    <a:pt x="401" y="120"/>
                    <a:pt x="401" y="120"/>
                    <a:pt x="401" y="120"/>
                  </a:cubicBezTo>
                  <a:cubicBezTo>
                    <a:pt x="403" y="126"/>
                    <a:pt x="405" y="131"/>
                    <a:pt x="406" y="137"/>
                  </a:cubicBezTo>
                  <a:cubicBezTo>
                    <a:pt x="407" y="144"/>
                    <a:pt x="408" y="151"/>
                    <a:pt x="412" y="158"/>
                  </a:cubicBezTo>
                  <a:cubicBezTo>
                    <a:pt x="413" y="161"/>
                    <a:pt x="413" y="165"/>
                    <a:pt x="414" y="168"/>
                  </a:cubicBezTo>
                  <a:cubicBezTo>
                    <a:pt x="415" y="174"/>
                    <a:pt x="416" y="180"/>
                    <a:pt x="417" y="186"/>
                  </a:cubicBezTo>
                  <a:cubicBezTo>
                    <a:pt x="418" y="193"/>
                    <a:pt x="419" y="200"/>
                    <a:pt x="420" y="207"/>
                  </a:cubicBezTo>
                  <a:cubicBezTo>
                    <a:pt x="420" y="212"/>
                    <a:pt x="421" y="217"/>
                    <a:pt x="421" y="222"/>
                  </a:cubicBezTo>
                  <a:cubicBezTo>
                    <a:pt x="421" y="223"/>
                    <a:pt x="420" y="224"/>
                    <a:pt x="420" y="225"/>
                  </a:cubicBezTo>
                  <a:cubicBezTo>
                    <a:pt x="420" y="230"/>
                    <a:pt x="420" y="236"/>
                    <a:pt x="420" y="241"/>
                  </a:cubicBezTo>
                  <a:cubicBezTo>
                    <a:pt x="420" y="244"/>
                    <a:pt x="418" y="247"/>
                    <a:pt x="418" y="249"/>
                  </a:cubicBezTo>
                  <a:cubicBezTo>
                    <a:pt x="418" y="252"/>
                    <a:pt x="417" y="255"/>
                    <a:pt x="417" y="258"/>
                  </a:cubicBezTo>
                  <a:cubicBezTo>
                    <a:pt x="415" y="263"/>
                    <a:pt x="415" y="267"/>
                    <a:pt x="413" y="272"/>
                  </a:cubicBezTo>
                  <a:cubicBezTo>
                    <a:pt x="411" y="278"/>
                    <a:pt x="409" y="284"/>
                    <a:pt x="407" y="290"/>
                  </a:cubicBezTo>
                  <a:cubicBezTo>
                    <a:pt x="403" y="300"/>
                    <a:pt x="398" y="310"/>
                    <a:pt x="391" y="319"/>
                  </a:cubicBezTo>
                  <a:cubicBezTo>
                    <a:pt x="385" y="327"/>
                    <a:pt x="380" y="336"/>
                    <a:pt x="374" y="344"/>
                  </a:cubicBezTo>
                  <a:cubicBezTo>
                    <a:pt x="374" y="346"/>
                    <a:pt x="372" y="347"/>
                    <a:pt x="371" y="348"/>
                  </a:cubicBezTo>
                  <a:cubicBezTo>
                    <a:pt x="368" y="351"/>
                    <a:pt x="365" y="354"/>
                    <a:pt x="362" y="357"/>
                  </a:cubicBezTo>
                  <a:cubicBezTo>
                    <a:pt x="358" y="361"/>
                    <a:pt x="354" y="366"/>
                    <a:pt x="349" y="369"/>
                  </a:cubicBezTo>
                  <a:cubicBezTo>
                    <a:pt x="343" y="374"/>
                    <a:pt x="336" y="380"/>
                    <a:pt x="329" y="384"/>
                  </a:cubicBezTo>
                  <a:cubicBezTo>
                    <a:pt x="319" y="390"/>
                    <a:pt x="309" y="398"/>
                    <a:pt x="298" y="403"/>
                  </a:cubicBezTo>
                  <a:cubicBezTo>
                    <a:pt x="286" y="408"/>
                    <a:pt x="274" y="410"/>
                    <a:pt x="262" y="412"/>
                  </a:cubicBezTo>
                  <a:cubicBezTo>
                    <a:pt x="253" y="415"/>
                    <a:pt x="244" y="416"/>
                    <a:pt x="236" y="417"/>
                  </a:cubicBezTo>
                  <a:cubicBezTo>
                    <a:pt x="233" y="418"/>
                    <a:pt x="230" y="419"/>
                    <a:pt x="229" y="419"/>
                  </a:cubicBezTo>
                  <a:moveTo>
                    <a:pt x="216" y="6"/>
                  </a:moveTo>
                  <a:cubicBezTo>
                    <a:pt x="208" y="7"/>
                    <a:pt x="200" y="9"/>
                    <a:pt x="191" y="10"/>
                  </a:cubicBezTo>
                  <a:cubicBezTo>
                    <a:pt x="187" y="11"/>
                    <a:pt x="182" y="12"/>
                    <a:pt x="177" y="12"/>
                  </a:cubicBezTo>
                  <a:cubicBezTo>
                    <a:pt x="168" y="14"/>
                    <a:pt x="159" y="14"/>
                    <a:pt x="150" y="16"/>
                  </a:cubicBezTo>
                  <a:cubicBezTo>
                    <a:pt x="137" y="19"/>
                    <a:pt x="124" y="24"/>
                    <a:pt x="112" y="30"/>
                  </a:cubicBezTo>
                  <a:cubicBezTo>
                    <a:pt x="106" y="34"/>
                    <a:pt x="100" y="38"/>
                    <a:pt x="93" y="41"/>
                  </a:cubicBezTo>
                  <a:cubicBezTo>
                    <a:pt x="83" y="45"/>
                    <a:pt x="74" y="50"/>
                    <a:pt x="65" y="58"/>
                  </a:cubicBezTo>
                  <a:cubicBezTo>
                    <a:pt x="59" y="63"/>
                    <a:pt x="53" y="67"/>
                    <a:pt x="49" y="74"/>
                  </a:cubicBezTo>
                  <a:cubicBezTo>
                    <a:pt x="45" y="82"/>
                    <a:pt x="40" y="89"/>
                    <a:pt x="37" y="97"/>
                  </a:cubicBezTo>
                  <a:cubicBezTo>
                    <a:pt x="33" y="105"/>
                    <a:pt x="30" y="113"/>
                    <a:pt x="27" y="122"/>
                  </a:cubicBezTo>
                  <a:cubicBezTo>
                    <a:pt x="24" y="130"/>
                    <a:pt x="21" y="139"/>
                    <a:pt x="19" y="148"/>
                  </a:cubicBezTo>
                  <a:cubicBezTo>
                    <a:pt x="17" y="154"/>
                    <a:pt x="16" y="160"/>
                    <a:pt x="16" y="167"/>
                  </a:cubicBezTo>
                  <a:cubicBezTo>
                    <a:pt x="15" y="175"/>
                    <a:pt x="16" y="183"/>
                    <a:pt x="15" y="191"/>
                  </a:cubicBezTo>
                  <a:cubicBezTo>
                    <a:pt x="15" y="199"/>
                    <a:pt x="14" y="207"/>
                    <a:pt x="14" y="215"/>
                  </a:cubicBezTo>
                  <a:cubicBezTo>
                    <a:pt x="13" y="225"/>
                    <a:pt x="11" y="234"/>
                    <a:pt x="11" y="244"/>
                  </a:cubicBezTo>
                  <a:cubicBezTo>
                    <a:pt x="10" y="248"/>
                    <a:pt x="9" y="252"/>
                    <a:pt x="10" y="256"/>
                  </a:cubicBezTo>
                  <a:cubicBezTo>
                    <a:pt x="12" y="266"/>
                    <a:pt x="15" y="275"/>
                    <a:pt x="18" y="284"/>
                  </a:cubicBezTo>
                  <a:cubicBezTo>
                    <a:pt x="20" y="289"/>
                    <a:pt x="23" y="294"/>
                    <a:pt x="26" y="299"/>
                  </a:cubicBezTo>
                  <a:cubicBezTo>
                    <a:pt x="30" y="306"/>
                    <a:pt x="31" y="314"/>
                    <a:pt x="36" y="321"/>
                  </a:cubicBezTo>
                  <a:cubicBezTo>
                    <a:pt x="41" y="326"/>
                    <a:pt x="44" y="332"/>
                    <a:pt x="49" y="336"/>
                  </a:cubicBezTo>
                  <a:cubicBezTo>
                    <a:pt x="56" y="342"/>
                    <a:pt x="62" y="349"/>
                    <a:pt x="69" y="355"/>
                  </a:cubicBezTo>
                  <a:cubicBezTo>
                    <a:pt x="75" y="361"/>
                    <a:pt x="81" y="366"/>
                    <a:pt x="88" y="371"/>
                  </a:cubicBezTo>
                  <a:cubicBezTo>
                    <a:pt x="90" y="372"/>
                    <a:pt x="92" y="372"/>
                    <a:pt x="94" y="374"/>
                  </a:cubicBezTo>
                  <a:cubicBezTo>
                    <a:pt x="101" y="381"/>
                    <a:pt x="109" y="385"/>
                    <a:pt x="117" y="389"/>
                  </a:cubicBezTo>
                  <a:cubicBezTo>
                    <a:pt x="128" y="394"/>
                    <a:pt x="139" y="398"/>
                    <a:pt x="151" y="402"/>
                  </a:cubicBezTo>
                  <a:cubicBezTo>
                    <a:pt x="158" y="404"/>
                    <a:pt x="166" y="406"/>
                    <a:pt x="174" y="408"/>
                  </a:cubicBezTo>
                  <a:cubicBezTo>
                    <a:pt x="182" y="411"/>
                    <a:pt x="191" y="411"/>
                    <a:pt x="199" y="411"/>
                  </a:cubicBezTo>
                  <a:cubicBezTo>
                    <a:pt x="207" y="411"/>
                    <a:pt x="215" y="411"/>
                    <a:pt x="224" y="410"/>
                  </a:cubicBezTo>
                  <a:cubicBezTo>
                    <a:pt x="233" y="410"/>
                    <a:pt x="242" y="408"/>
                    <a:pt x="251" y="407"/>
                  </a:cubicBezTo>
                  <a:cubicBezTo>
                    <a:pt x="257" y="406"/>
                    <a:pt x="264" y="405"/>
                    <a:pt x="270" y="403"/>
                  </a:cubicBezTo>
                  <a:cubicBezTo>
                    <a:pt x="278" y="401"/>
                    <a:pt x="286" y="398"/>
                    <a:pt x="294" y="395"/>
                  </a:cubicBezTo>
                  <a:cubicBezTo>
                    <a:pt x="300" y="393"/>
                    <a:pt x="305" y="389"/>
                    <a:pt x="311" y="385"/>
                  </a:cubicBezTo>
                  <a:cubicBezTo>
                    <a:pt x="321" y="378"/>
                    <a:pt x="331" y="371"/>
                    <a:pt x="341" y="364"/>
                  </a:cubicBezTo>
                  <a:cubicBezTo>
                    <a:pt x="351" y="358"/>
                    <a:pt x="358" y="350"/>
                    <a:pt x="364" y="342"/>
                  </a:cubicBezTo>
                  <a:cubicBezTo>
                    <a:pt x="371" y="333"/>
                    <a:pt x="376" y="325"/>
                    <a:pt x="382" y="316"/>
                  </a:cubicBezTo>
                  <a:cubicBezTo>
                    <a:pt x="384" y="312"/>
                    <a:pt x="387" y="308"/>
                    <a:pt x="390" y="304"/>
                  </a:cubicBezTo>
                  <a:cubicBezTo>
                    <a:pt x="392" y="299"/>
                    <a:pt x="395" y="293"/>
                    <a:pt x="397" y="288"/>
                  </a:cubicBezTo>
                  <a:cubicBezTo>
                    <a:pt x="400" y="282"/>
                    <a:pt x="402" y="276"/>
                    <a:pt x="405" y="270"/>
                  </a:cubicBezTo>
                  <a:cubicBezTo>
                    <a:pt x="408" y="260"/>
                    <a:pt x="407" y="250"/>
                    <a:pt x="409" y="240"/>
                  </a:cubicBezTo>
                  <a:cubicBezTo>
                    <a:pt x="410" y="235"/>
                    <a:pt x="409" y="230"/>
                    <a:pt x="409" y="225"/>
                  </a:cubicBezTo>
                  <a:cubicBezTo>
                    <a:pt x="410" y="218"/>
                    <a:pt x="410" y="211"/>
                    <a:pt x="410" y="204"/>
                  </a:cubicBezTo>
                  <a:cubicBezTo>
                    <a:pt x="410" y="197"/>
                    <a:pt x="408" y="190"/>
                    <a:pt x="407" y="182"/>
                  </a:cubicBezTo>
                  <a:cubicBezTo>
                    <a:pt x="407" y="181"/>
                    <a:pt x="407" y="179"/>
                    <a:pt x="407" y="178"/>
                  </a:cubicBezTo>
                  <a:cubicBezTo>
                    <a:pt x="406" y="173"/>
                    <a:pt x="405" y="169"/>
                    <a:pt x="404" y="165"/>
                  </a:cubicBezTo>
                  <a:cubicBezTo>
                    <a:pt x="403" y="162"/>
                    <a:pt x="403" y="160"/>
                    <a:pt x="402" y="157"/>
                  </a:cubicBezTo>
                  <a:cubicBezTo>
                    <a:pt x="401" y="153"/>
                    <a:pt x="400" y="149"/>
                    <a:pt x="399" y="145"/>
                  </a:cubicBezTo>
                  <a:cubicBezTo>
                    <a:pt x="398" y="142"/>
                    <a:pt x="398" y="139"/>
                    <a:pt x="397" y="136"/>
                  </a:cubicBezTo>
                  <a:cubicBezTo>
                    <a:pt x="396" y="132"/>
                    <a:pt x="394" y="128"/>
                    <a:pt x="392" y="124"/>
                  </a:cubicBezTo>
                  <a:cubicBezTo>
                    <a:pt x="391" y="121"/>
                    <a:pt x="390" y="117"/>
                    <a:pt x="389" y="115"/>
                  </a:cubicBezTo>
                  <a:cubicBezTo>
                    <a:pt x="386" y="110"/>
                    <a:pt x="382" y="105"/>
                    <a:pt x="379" y="100"/>
                  </a:cubicBezTo>
                  <a:cubicBezTo>
                    <a:pt x="374" y="91"/>
                    <a:pt x="369" y="81"/>
                    <a:pt x="363" y="72"/>
                  </a:cubicBezTo>
                  <a:cubicBezTo>
                    <a:pt x="358" y="65"/>
                    <a:pt x="354" y="57"/>
                    <a:pt x="347" y="51"/>
                  </a:cubicBezTo>
                  <a:cubicBezTo>
                    <a:pt x="344" y="49"/>
                    <a:pt x="341" y="46"/>
                    <a:pt x="339" y="44"/>
                  </a:cubicBezTo>
                  <a:cubicBezTo>
                    <a:pt x="337" y="43"/>
                    <a:pt x="335" y="42"/>
                    <a:pt x="333" y="41"/>
                  </a:cubicBezTo>
                  <a:cubicBezTo>
                    <a:pt x="327" y="38"/>
                    <a:pt x="321" y="35"/>
                    <a:pt x="315" y="31"/>
                  </a:cubicBezTo>
                  <a:cubicBezTo>
                    <a:pt x="313" y="30"/>
                    <a:pt x="310" y="30"/>
                    <a:pt x="308" y="29"/>
                  </a:cubicBezTo>
                  <a:cubicBezTo>
                    <a:pt x="301" y="27"/>
                    <a:pt x="295" y="25"/>
                    <a:pt x="288" y="23"/>
                  </a:cubicBezTo>
                  <a:cubicBezTo>
                    <a:pt x="278" y="18"/>
                    <a:pt x="267" y="14"/>
                    <a:pt x="256" y="11"/>
                  </a:cubicBezTo>
                  <a:cubicBezTo>
                    <a:pt x="251" y="10"/>
                    <a:pt x="245" y="10"/>
                    <a:pt x="240" y="9"/>
                  </a:cubicBezTo>
                  <a:cubicBezTo>
                    <a:pt x="232" y="8"/>
                    <a:pt x="224" y="7"/>
                    <a:pt x="216" y="6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79" name="Freeform 2052">
              <a:extLst>
                <a:ext uri="{FF2B5EF4-FFF2-40B4-BE49-F238E27FC236}">
                  <a16:creationId xmlns:a16="http://schemas.microsoft.com/office/drawing/2014/main" id="{B34EED9B-7CAB-4E9F-BBDF-1BEC50E92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7392" y="936627"/>
              <a:ext cx="134938" cy="206375"/>
            </a:xfrm>
            <a:custGeom>
              <a:avLst/>
              <a:gdLst>
                <a:gd name="T0" fmla="*/ 35 w 134"/>
                <a:gd name="T1" fmla="*/ 131 h 205"/>
                <a:gd name="T2" fmla="*/ 36 w 134"/>
                <a:gd name="T3" fmla="*/ 119 h 205"/>
                <a:gd name="T4" fmla="*/ 34 w 134"/>
                <a:gd name="T5" fmla="*/ 103 h 205"/>
                <a:gd name="T6" fmla="*/ 34 w 134"/>
                <a:gd name="T7" fmla="*/ 83 h 205"/>
                <a:gd name="T8" fmla="*/ 32 w 134"/>
                <a:gd name="T9" fmla="*/ 66 h 205"/>
                <a:gd name="T10" fmla="*/ 32 w 134"/>
                <a:gd name="T11" fmla="*/ 52 h 205"/>
                <a:gd name="T12" fmla="*/ 32 w 134"/>
                <a:gd name="T13" fmla="*/ 37 h 205"/>
                <a:gd name="T14" fmla="*/ 31 w 134"/>
                <a:gd name="T15" fmla="*/ 17 h 205"/>
                <a:gd name="T16" fmla="*/ 31 w 134"/>
                <a:gd name="T17" fmla="*/ 6 h 205"/>
                <a:gd name="T18" fmla="*/ 34 w 134"/>
                <a:gd name="T19" fmla="*/ 0 h 205"/>
                <a:gd name="T20" fmla="*/ 42 w 134"/>
                <a:gd name="T21" fmla="*/ 6 h 205"/>
                <a:gd name="T22" fmla="*/ 42 w 134"/>
                <a:gd name="T23" fmla="*/ 22 h 205"/>
                <a:gd name="T24" fmla="*/ 44 w 134"/>
                <a:gd name="T25" fmla="*/ 34 h 205"/>
                <a:gd name="T26" fmla="*/ 47 w 134"/>
                <a:gd name="T27" fmla="*/ 49 h 205"/>
                <a:gd name="T28" fmla="*/ 51 w 134"/>
                <a:gd name="T29" fmla="*/ 74 h 205"/>
                <a:gd name="T30" fmla="*/ 52 w 134"/>
                <a:gd name="T31" fmla="*/ 87 h 205"/>
                <a:gd name="T32" fmla="*/ 55 w 134"/>
                <a:gd name="T33" fmla="*/ 104 h 205"/>
                <a:gd name="T34" fmla="*/ 55 w 134"/>
                <a:gd name="T35" fmla="*/ 109 h 205"/>
                <a:gd name="T36" fmla="*/ 55 w 134"/>
                <a:gd name="T37" fmla="*/ 126 h 205"/>
                <a:gd name="T38" fmla="*/ 56 w 134"/>
                <a:gd name="T39" fmla="*/ 128 h 205"/>
                <a:gd name="T40" fmla="*/ 61 w 134"/>
                <a:gd name="T41" fmla="*/ 135 h 205"/>
                <a:gd name="T42" fmla="*/ 67 w 134"/>
                <a:gd name="T43" fmla="*/ 140 h 205"/>
                <a:gd name="T44" fmla="*/ 106 w 134"/>
                <a:gd name="T45" fmla="*/ 156 h 205"/>
                <a:gd name="T46" fmla="*/ 130 w 134"/>
                <a:gd name="T47" fmla="*/ 165 h 205"/>
                <a:gd name="T48" fmla="*/ 133 w 134"/>
                <a:gd name="T49" fmla="*/ 171 h 205"/>
                <a:gd name="T50" fmla="*/ 129 w 134"/>
                <a:gd name="T51" fmla="*/ 174 h 205"/>
                <a:gd name="T52" fmla="*/ 122 w 134"/>
                <a:gd name="T53" fmla="*/ 175 h 205"/>
                <a:gd name="T54" fmla="*/ 102 w 134"/>
                <a:gd name="T55" fmla="*/ 170 h 205"/>
                <a:gd name="T56" fmla="*/ 81 w 134"/>
                <a:gd name="T57" fmla="*/ 161 h 205"/>
                <a:gd name="T58" fmla="*/ 63 w 134"/>
                <a:gd name="T59" fmla="*/ 156 h 205"/>
                <a:gd name="T60" fmla="*/ 57 w 134"/>
                <a:gd name="T61" fmla="*/ 155 h 205"/>
                <a:gd name="T62" fmla="*/ 54 w 134"/>
                <a:gd name="T63" fmla="*/ 163 h 205"/>
                <a:gd name="T64" fmla="*/ 54 w 134"/>
                <a:gd name="T65" fmla="*/ 173 h 205"/>
                <a:gd name="T66" fmla="*/ 55 w 134"/>
                <a:gd name="T67" fmla="*/ 187 h 205"/>
                <a:gd name="T68" fmla="*/ 58 w 134"/>
                <a:gd name="T69" fmla="*/ 191 h 205"/>
                <a:gd name="T70" fmla="*/ 58 w 134"/>
                <a:gd name="T71" fmla="*/ 196 h 205"/>
                <a:gd name="T72" fmla="*/ 50 w 134"/>
                <a:gd name="T73" fmla="*/ 203 h 205"/>
                <a:gd name="T74" fmla="*/ 43 w 134"/>
                <a:gd name="T75" fmla="*/ 201 h 205"/>
                <a:gd name="T76" fmla="*/ 42 w 134"/>
                <a:gd name="T77" fmla="*/ 190 h 205"/>
                <a:gd name="T78" fmla="*/ 40 w 134"/>
                <a:gd name="T79" fmla="*/ 168 h 205"/>
                <a:gd name="T80" fmla="*/ 39 w 134"/>
                <a:gd name="T81" fmla="*/ 164 h 205"/>
                <a:gd name="T82" fmla="*/ 38 w 134"/>
                <a:gd name="T83" fmla="*/ 162 h 205"/>
                <a:gd name="T84" fmla="*/ 31 w 134"/>
                <a:gd name="T85" fmla="*/ 147 h 205"/>
                <a:gd name="T86" fmla="*/ 20 w 134"/>
                <a:gd name="T87" fmla="*/ 142 h 205"/>
                <a:gd name="T88" fmla="*/ 14 w 134"/>
                <a:gd name="T89" fmla="*/ 139 h 205"/>
                <a:gd name="T90" fmla="*/ 4 w 134"/>
                <a:gd name="T91" fmla="*/ 130 h 205"/>
                <a:gd name="T92" fmla="*/ 2 w 134"/>
                <a:gd name="T93" fmla="*/ 119 h 205"/>
                <a:gd name="T94" fmla="*/ 4 w 134"/>
                <a:gd name="T95" fmla="*/ 117 h 205"/>
                <a:gd name="T96" fmla="*/ 13 w 134"/>
                <a:gd name="T97" fmla="*/ 120 h 205"/>
                <a:gd name="T98" fmla="*/ 28 w 134"/>
                <a:gd name="T99" fmla="*/ 127 h 205"/>
                <a:gd name="T100" fmla="*/ 35 w 134"/>
                <a:gd name="T101" fmla="*/ 131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4" h="205">
                  <a:moveTo>
                    <a:pt x="35" y="131"/>
                  </a:moveTo>
                  <a:cubicBezTo>
                    <a:pt x="39" y="127"/>
                    <a:pt x="37" y="123"/>
                    <a:pt x="36" y="119"/>
                  </a:cubicBezTo>
                  <a:cubicBezTo>
                    <a:pt x="36" y="114"/>
                    <a:pt x="34" y="109"/>
                    <a:pt x="34" y="103"/>
                  </a:cubicBezTo>
                  <a:cubicBezTo>
                    <a:pt x="33" y="97"/>
                    <a:pt x="34" y="90"/>
                    <a:pt x="34" y="83"/>
                  </a:cubicBezTo>
                  <a:cubicBezTo>
                    <a:pt x="34" y="78"/>
                    <a:pt x="33" y="72"/>
                    <a:pt x="32" y="66"/>
                  </a:cubicBezTo>
                  <a:cubicBezTo>
                    <a:pt x="32" y="61"/>
                    <a:pt x="32" y="57"/>
                    <a:pt x="32" y="52"/>
                  </a:cubicBezTo>
                  <a:cubicBezTo>
                    <a:pt x="32" y="47"/>
                    <a:pt x="31" y="42"/>
                    <a:pt x="32" y="37"/>
                  </a:cubicBezTo>
                  <a:cubicBezTo>
                    <a:pt x="32" y="30"/>
                    <a:pt x="29" y="24"/>
                    <a:pt x="31" y="17"/>
                  </a:cubicBezTo>
                  <a:cubicBezTo>
                    <a:pt x="32" y="14"/>
                    <a:pt x="31" y="10"/>
                    <a:pt x="31" y="6"/>
                  </a:cubicBezTo>
                  <a:cubicBezTo>
                    <a:pt x="31" y="4"/>
                    <a:pt x="30" y="1"/>
                    <a:pt x="34" y="0"/>
                  </a:cubicBezTo>
                  <a:cubicBezTo>
                    <a:pt x="38" y="0"/>
                    <a:pt x="42" y="2"/>
                    <a:pt x="42" y="6"/>
                  </a:cubicBezTo>
                  <a:cubicBezTo>
                    <a:pt x="42" y="11"/>
                    <a:pt x="42" y="17"/>
                    <a:pt x="42" y="22"/>
                  </a:cubicBezTo>
                  <a:cubicBezTo>
                    <a:pt x="42" y="26"/>
                    <a:pt x="43" y="30"/>
                    <a:pt x="44" y="34"/>
                  </a:cubicBezTo>
                  <a:cubicBezTo>
                    <a:pt x="45" y="39"/>
                    <a:pt x="46" y="44"/>
                    <a:pt x="47" y="49"/>
                  </a:cubicBezTo>
                  <a:cubicBezTo>
                    <a:pt x="49" y="57"/>
                    <a:pt x="50" y="65"/>
                    <a:pt x="51" y="74"/>
                  </a:cubicBezTo>
                  <a:cubicBezTo>
                    <a:pt x="52" y="78"/>
                    <a:pt x="52" y="82"/>
                    <a:pt x="52" y="87"/>
                  </a:cubicBezTo>
                  <a:cubicBezTo>
                    <a:pt x="53" y="93"/>
                    <a:pt x="54" y="98"/>
                    <a:pt x="55" y="104"/>
                  </a:cubicBezTo>
                  <a:cubicBezTo>
                    <a:pt x="55" y="106"/>
                    <a:pt x="55" y="108"/>
                    <a:pt x="55" y="109"/>
                  </a:cubicBezTo>
                  <a:cubicBezTo>
                    <a:pt x="55" y="115"/>
                    <a:pt x="55" y="120"/>
                    <a:pt x="55" y="126"/>
                  </a:cubicBezTo>
                  <a:cubicBezTo>
                    <a:pt x="55" y="127"/>
                    <a:pt x="56" y="128"/>
                    <a:pt x="56" y="128"/>
                  </a:cubicBezTo>
                  <a:cubicBezTo>
                    <a:pt x="58" y="130"/>
                    <a:pt x="60" y="132"/>
                    <a:pt x="61" y="135"/>
                  </a:cubicBezTo>
                  <a:cubicBezTo>
                    <a:pt x="63" y="138"/>
                    <a:pt x="65" y="139"/>
                    <a:pt x="67" y="140"/>
                  </a:cubicBezTo>
                  <a:cubicBezTo>
                    <a:pt x="80" y="145"/>
                    <a:pt x="93" y="151"/>
                    <a:pt x="106" y="156"/>
                  </a:cubicBezTo>
                  <a:cubicBezTo>
                    <a:pt x="114" y="159"/>
                    <a:pt x="122" y="162"/>
                    <a:pt x="130" y="165"/>
                  </a:cubicBezTo>
                  <a:cubicBezTo>
                    <a:pt x="133" y="166"/>
                    <a:pt x="134" y="168"/>
                    <a:pt x="133" y="171"/>
                  </a:cubicBezTo>
                  <a:cubicBezTo>
                    <a:pt x="133" y="173"/>
                    <a:pt x="131" y="174"/>
                    <a:pt x="129" y="174"/>
                  </a:cubicBezTo>
                  <a:cubicBezTo>
                    <a:pt x="126" y="174"/>
                    <a:pt x="124" y="176"/>
                    <a:pt x="122" y="175"/>
                  </a:cubicBezTo>
                  <a:cubicBezTo>
                    <a:pt x="115" y="174"/>
                    <a:pt x="109" y="172"/>
                    <a:pt x="102" y="170"/>
                  </a:cubicBezTo>
                  <a:cubicBezTo>
                    <a:pt x="95" y="167"/>
                    <a:pt x="88" y="163"/>
                    <a:pt x="81" y="161"/>
                  </a:cubicBezTo>
                  <a:cubicBezTo>
                    <a:pt x="75" y="159"/>
                    <a:pt x="69" y="157"/>
                    <a:pt x="63" y="156"/>
                  </a:cubicBezTo>
                  <a:cubicBezTo>
                    <a:pt x="61" y="155"/>
                    <a:pt x="59" y="155"/>
                    <a:pt x="57" y="155"/>
                  </a:cubicBezTo>
                  <a:cubicBezTo>
                    <a:pt x="55" y="157"/>
                    <a:pt x="53" y="159"/>
                    <a:pt x="54" y="163"/>
                  </a:cubicBezTo>
                  <a:cubicBezTo>
                    <a:pt x="54" y="166"/>
                    <a:pt x="53" y="170"/>
                    <a:pt x="54" y="173"/>
                  </a:cubicBezTo>
                  <a:cubicBezTo>
                    <a:pt x="54" y="178"/>
                    <a:pt x="55" y="183"/>
                    <a:pt x="55" y="187"/>
                  </a:cubicBezTo>
                  <a:cubicBezTo>
                    <a:pt x="56" y="189"/>
                    <a:pt x="57" y="191"/>
                    <a:pt x="58" y="191"/>
                  </a:cubicBezTo>
                  <a:cubicBezTo>
                    <a:pt x="61" y="192"/>
                    <a:pt x="60" y="194"/>
                    <a:pt x="58" y="196"/>
                  </a:cubicBezTo>
                  <a:cubicBezTo>
                    <a:pt x="56" y="198"/>
                    <a:pt x="53" y="201"/>
                    <a:pt x="50" y="203"/>
                  </a:cubicBezTo>
                  <a:cubicBezTo>
                    <a:pt x="48" y="205"/>
                    <a:pt x="44" y="205"/>
                    <a:pt x="43" y="201"/>
                  </a:cubicBezTo>
                  <a:cubicBezTo>
                    <a:pt x="42" y="197"/>
                    <a:pt x="42" y="194"/>
                    <a:pt x="42" y="190"/>
                  </a:cubicBezTo>
                  <a:cubicBezTo>
                    <a:pt x="41" y="183"/>
                    <a:pt x="41" y="175"/>
                    <a:pt x="40" y="168"/>
                  </a:cubicBezTo>
                  <a:cubicBezTo>
                    <a:pt x="40" y="167"/>
                    <a:pt x="39" y="165"/>
                    <a:pt x="39" y="164"/>
                  </a:cubicBezTo>
                  <a:cubicBezTo>
                    <a:pt x="39" y="163"/>
                    <a:pt x="38" y="163"/>
                    <a:pt x="38" y="162"/>
                  </a:cubicBezTo>
                  <a:cubicBezTo>
                    <a:pt x="40" y="155"/>
                    <a:pt x="33" y="152"/>
                    <a:pt x="31" y="147"/>
                  </a:cubicBezTo>
                  <a:cubicBezTo>
                    <a:pt x="30" y="142"/>
                    <a:pt x="24" y="143"/>
                    <a:pt x="20" y="142"/>
                  </a:cubicBezTo>
                  <a:cubicBezTo>
                    <a:pt x="18" y="141"/>
                    <a:pt x="15" y="140"/>
                    <a:pt x="14" y="139"/>
                  </a:cubicBezTo>
                  <a:cubicBezTo>
                    <a:pt x="10" y="136"/>
                    <a:pt x="7" y="133"/>
                    <a:pt x="4" y="130"/>
                  </a:cubicBezTo>
                  <a:cubicBezTo>
                    <a:pt x="1" y="127"/>
                    <a:pt x="0" y="123"/>
                    <a:pt x="2" y="119"/>
                  </a:cubicBezTo>
                  <a:cubicBezTo>
                    <a:pt x="2" y="118"/>
                    <a:pt x="4" y="117"/>
                    <a:pt x="4" y="117"/>
                  </a:cubicBezTo>
                  <a:cubicBezTo>
                    <a:pt x="7" y="118"/>
                    <a:pt x="10" y="119"/>
                    <a:pt x="13" y="120"/>
                  </a:cubicBezTo>
                  <a:cubicBezTo>
                    <a:pt x="18" y="123"/>
                    <a:pt x="23" y="125"/>
                    <a:pt x="28" y="127"/>
                  </a:cubicBezTo>
                  <a:cubicBezTo>
                    <a:pt x="30" y="128"/>
                    <a:pt x="32" y="129"/>
                    <a:pt x="35" y="131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0" name="Freeform 2053">
              <a:extLst>
                <a:ext uri="{FF2B5EF4-FFF2-40B4-BE49-F238E27FC236}">
                  <a16:creationId xmlns:a16="http://schemas.microsoft.com/office/drawing/2014/main" id="{EFC3A35F-4A1B-4116-BAAD-A38C7CC70C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1367" y="1212852"/>
              <a:ext cx="30163" cy="49213"/>
            </a:xfrm>
            <a:custGeom>
              <a:avLst/>
              <a:gdLst>
                <a:gd name="T0" fmla="*/ 5 w 31"/>
                <a:gd name="T1" fmla="*/ 0 h 49"/>
                <a:gd name="T2" fmla="*/ 8 w 31"/>
                <a:gd name="T3" fmla="*/ 9 h 49"/>
                <a:gd name="T4" fmla="*/ 9 w 31"/>
                <a:gd name="T5" fmla="*/ 21 h 49"/>
                <a:gd name="T6" fmla="*/ 11 w 31"/>
                <a:gd name="T7" fmla="*/ 18 h 49"/>
                <a:gd name="T8" fmla="*/ 25 w 31"/>
                <a:gd name="T9" fmla="*/ 13 h 49"/>
                <a:gd name="T10" fmla="*/ 31 w 31"/>
                <a:gd name="T11" fmla="*/ 25 h 49"/>
                <a:gd name="T12" fmla="*/ 25 w 31"/>
                <a:gd name="T13" fmla="*/ 43 h 49"/>
                <a:gd name="T14" fmla="*/ 15 w 31"/>
                <a:gd name="T15" fmla="*/ 48 h 49"/>
                <a:gd name="T16" fmla="*/ 6 w 31"/>
                <a:gd name="T17" fmla="*/ 40 h 49"/>
                <a:gd name="T18" fmla="*/ 1 w 31"/>
                <a:gd name="T19" fmla="*/ 17 h 49"/>
                <a:gd name="T20" fmla="*/ 1 w 31"/>
                <a:gd name="T21" fmla="*/ 5 h 49"/>
                <a:gd name="T22" fmla="*/ 5 w 31"/>
                <a:gd name="T23" fmla="*/ 0 h 49"/>
                <a:gd name="T24" fmla="*/ 14 w 31"/>
                <a:gd name="T25" fmla="*/ 38 h 49"/>
                <a:gd name="T26" fmla="*/ 21 w 31"/>
                <a:gd name="T27" fmla="*/ 35 h 49"/>
                <a:gd name="T28" fmla="*/ 25 w 31"/>
                <a:gd name="T29" fmla="*/ 25 h 49"/>
                <a:gd name="T30" fmla="*/ 23 w 31"/>
                <a:gd name="T31" fmla="*/ 21 h 49"/>
                <a:gd name="T32" fmla="*/ 19 w 31"/>
                <a:gd name="T33" fmla="*/ 20 h 49"/>
                <a:gd name="T34" fmla="*/ 13 w 31"/>
                <a:gd name="T35" fmla="*/ 30 h 49"/>
                <a:gd name="T36" fmla="*/ 14 w 31"/>
                <a:gd name="T37" fmla="*/ 3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" h="49">
                  <a:moveTo>
                    <a:pt x="5" y="0"/>
                  </a:moveTo>
                  <a:cubicBezTo>
                    <a:pt x="9" y="3"/>
                    <a:pt x="9" y="5"/>
                    <a:pt x="8" y="9"/>
                  </a:cubicBezTo>
                  <a:cubicBezTo>
                    <a:pt x="7" y="13"/>
                    <a:pt x="8" y="17"/>
                    <a:pt x="9" y="21"/>
                  </a:cubicBezTo>
                  <a:cubicBezTo>
                    <a:pt x="9" y="20"/>
                    <a:pt x="10" y="19"/>
                    <a:pt x="11" y="18"/>
                  </a:cubicBezTo>
                  <a:cubicBezTo>
                    <a:pt x="13" y="14"/>
                    <a:pt x="19" y="11"/>
                    <a:pt x="25" y="13"/>
                  </a:cubicBezTo>
                  <a:cubicBezTo>
                    <a:pt x="29" y="14"/>
                    <a:pt x="31" y="19"/>
                    <a:pt x="31" y="25"/>
                  </a:cubicBezTo>
                  <a:cubicBezTo>
                    <a:pt x="30" y="31"/>
                    <a:pt x="29" y="37"/>
                    <a:pt x="25" y="43"/>
                  </a:cubicBezTo>
                  <a:cubicBezTo>
                    <a:pt x="23" y="46"/>
                    <a:pt x="19" y="49"/>
                    <a:pt x="15" y="48"/>
                  </a:cubicBezTo>
                  <a:cubicBezTo>
                    <a:pt x="11" y="47"/>
                    <a:pt x="7" y="45"/>
                    <a:pt x="6" y="40"/>
                  </a:cubicBezTo>
                  <a:cubicBezTo>
                    <a:pt x="4" y="33"/>
                    <a:pt x="3" y="25"/>
                    <a:pt x="1" y="17"/>
                  </a:cubicBezTo>
                  <a:cubicBezTo>
                    <a:pt x="1" y="13"/>
                    <a:pt x="0" y="9"/>
                    <a:pt x="1" y="5"/>
                  </a:cubicBezTo>
                  <a:cubicBezTo>
                    <a:pt x="1" y="3"/>
                    <a:pt x="3" y="2"/>
                    <a:pt x="5" y="0"/>
                  </a:cubicBezTo>
                  <a:moveTo>
                    <a:pt x="14" y="38"/>
                  </a:moveTo>
                  <a:cubicBezTo>
                    <a:pt x="18" y="40"/>
                    <a:pt x="19" y="39"/>
                    <a:pt x="21" y="35"/>
                  </a:cubicBezTo>
                  <a:cubicBezTo>
                    <a:pt x="23" y="32"/>
                    <a:pt x="24" y="28"/>
                    <a:pt x="25" y="25"/>
                  </a:cubicBezTo>
                  <a:cubicBezTo>
                    <a:pt x="25" y="24"/>
                    <a:pt x="24" y="22"/>
                    <a:pt x="23" y="21"/>
                  </a:cubicBezTo>
                  <a:cubicBezTo>
                    <a:pt x="22" y="20"/>
                    <a:pt x="20" y="20"/>
                    <a:pt x="19" y="20"/>
                  </a:cubicBezTo>
                  <a:cubicBezTo>
                    <a:pt x="15" y="21"/>
                    <a:pt x="13" y="27"/>
                    <a:pt x="13" y="30"/>
                  </a:cubicBezTo>
                  <a:cubicBezTo>
                    <a:pt x="14" y="33"/>
                    <a:pt x="14" y="35"/>
                    <a:pt x="14" y="38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1" name="Freeform 2054">
              <a:extLst>
                <a:ext uri="{FF2B5EF4-FFF2-40B4-BE49-F238E27FC236}">
                  <a16:creationId xmlns:a16="http://schemas.microsoft.com/office/drawing/2014/main" id="{AB659C35-E581-4329-B87D-938F6279B0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11030" y="1147764"/>
              <a:ext cx="26988" cy="42863"/>
            </a:xfrm>
            <a:custGeom>
              <a:avLst/>
              <a:gdLst>
                <a:gd name="T0" fmla="*/ 7 w 26"/>
                <a:gd name="T1" fmla="*/ 21 h 43"/>
                <a:gd name="T2" fmla="*/ 0 w 26"/>
                <a:gd name="T3" fmla="*/ 15 h 43"/>
                <a:gd name="T4" fmla="*/ 0 w 26"/>
                <a:gd name="T5" fmla="*/ 10 h 43"/>
                <a:gd name="T6" fmla="*/ 16 w 26"/>
                <a:gd name="T7" fmla="*/ 0 h 43"/>
                <a:gd name="T8" fmla="*/ 22 w 26"/>
                <a:gd name="T9" fmla="*/ 10 h 43"/>
                <a:gd name="T10" fmla="*/ 24 w 26"/>
                <a:gd name="T11" fmla="*/ 18 h 43"/>
                <a:gd name="T12" fmla="*/ 24 w 26"/>
                <a:gd name="T13" fmla="*/ 29 h 43"/>
                <a:gd name="T14" fmla="*/ 17 w 26"/>
                <a:gd name="T15" fmla="*/ 39 h 43"/>
                <a:gd name="T16" fmla="*/ 8 w 26"/>
                <a:gd name="T17" fmla="*/ 41 h 43"/>
                <a:gd name="T18" fmla="*/ 4 w 26"/>
                <a:gd name="T19" fmla="*/ 33 h 43"/>
                <a:gd name="T20" fmla="*/ 7 w 26"/>
                <a:gd name="T21" fmla="*/ 21 h 43"/>
                <a:gd name="T22" fmla="*/ 16 w 26"/>
                <a:gd name="T23" fmla="*/ 20 h 43"/>
                <a:gd name="T24" fmla="*/ 10 w 26"/>
                <a:gd name="T25" fmla="*/ 33 h 43"/>
                <a:gd name="T26" fmla="*/ 16 w 26"/>
                <a:gd name="T27" fmla="*/ 2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" h="43">
                  <a:moveTo>
                    <a:pt x="7" y="21"/>
                  </a:moveTo>
                  <a:cubicBezTo>
                    <a:pt x="5" y="19"/>
                    <a:pt x="0" y="19"/>
                    <a:pt x="0" y="15"/>
                  </a:cubicBezTo>
                  <a:cubicBezTo>
                    <a:pt x="0" y="13"/>
                    <a:pt x="0" y="12"/>
                    <a:pt x="0" y="10"/>
                  </a:cubicBezTo>
                  <a:cubicBezTo>
                    <a:pt x="2" y="5"/>
                    <a:pt x="11" y="0"/>
                    <a:pt x="16" y="0"/>
                  </a:cubicBezTo>
                  <a:cubicBezTo>
                    <a:pt x="20" y="1"/>
                    <a:pt x="22" y="5"/>
                    <a:pt x="22" y="10"/>
                  </a:cubicBezTo>
                  <a:cubicBezTo>
                    <a:pt x="21" y="13"/>
                    <a:pt x="21" y="15"/>
                    <a:pt x="24" y="18"/>
                  </a:cubicBezTo>
                  <a:cubicBezTo>
                    <a:pt x="26" y="20"/>
                    <a:pt x="25" y="25"/>
                    <a:pt x="24" y="29"/>
                  </a:cubicBezTo>
                  <a:cubicBezTo>
                    <a:pt x="22" y="32"/>
                    <a:pt x="19" y="36"/>
                    <a:pt x="17" y="39"/>
                  </a:cubicBezTo>
                  <a:cubicBezTo>
                    <a:pt x="15" y="42"/>
                    <a:pt x="12" y="43"/>
                    <a:pt x="8" y="41"/>
                  </a:cubicBezTo>
                  <a:cubicBezTo>
                    <a:pt x="5" y="39"/>
                    <a:pt x="4" y="36"/>
                    <a:pt x="4" y="33"/>
                  </a:cubicBezTo>
                  <a:cubicBezTo>
                    <a:pt x="5" y="29"/>
                    <a:pt x="6" y="25"/>
                    <a:pt x="7" y="21"/>
                  </a:cubicBezTo>
                  <a:moveTo>
                    <a:pt x="16" y="20"/>
                  </a:moveTo>
                  <a:cubicBezTo>
                    <a:pt x="14" y="25"/>
                    <a:pt x="12" y="29"/>
                    <a:pt x="10" y="33"/>
                  </a:cubicBezTo>
                  <a:cubicBezTo>
                    <a:pt x="16" y="32"/>
                    <a:pt x="19" y="25"/>
                    <a:pt x="16" y="20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2" name="Freeform 2055">
              <a:extLst>
                <a:ext uri="{FF2B5EF4-FFF2-40B4-BE49-F238E27FC236}">
                  <a16:creationId xmlns:a16="http://schemas.microsoft.com/office/drawing/2014/main" id="{EBAF184F-9386-480E-BE0D-F08596213E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68167" y="1065214"/>
              <a:ext cx="31750" cy="46038"/>
            </a:xfrm>
            <a:custGeom>
              <a:avLst/>
              <a:gdLst>
                <a:gd name="T0" fmla="*/ 23 w 33"/>
                <a:gd name="T1" fmla="*/ 21 h 46"/>
                <a:gd name="T2" fmla="*/ 18 w 33"/>
                <a:gd name="T3" fmla="*/ 27 h 46"/>
                <a:gd name="T4" fmla="*/ 9 w 33"/>
                <a:gd name="T5" fmla="*/ 27 h 46"/>
                <a:gd name="T6" fmla="*/ 14 w 33"/>
                <a:gd name="T7" fmla="*/ 2 h 46"/>
                <a:gd name="T8" fmla="*/ 23 w 33"/>
                <a:gd name="T9" fmla="*/ 3 h 46"/>
                <a:gd name="T10" fmla="*/ 29 w 33"/>
                <a:gd name="T11" fmla="*/ 8 h 46"/>
                <a:gd name="T12" fmla="*/ 30 w 33"/>
                <a:gd name="T13" fmla="*/ 10 h 46"/>
                <a:gd name="T14" fmla="*/ 33 w 33"/>
                <a:gd name="T15" fmla="*/ 27 h 46"/>
                <a:gd name="T16" fmla="*/ 29 w 33"/>
                <a:gd name="T17" fmla="*/ 44 h 46"/>
                <a:gd name="T18" fmla="*/ 26 w 33"/>
                <a:gd name="T19" fmla="*/ 45 h 46"/>
                <a:gd name="T20" fmla="*/ 24 w 33"/>
                <a:gd name="T21" fmla="*/ 42 h 46"/>
                <a:gd name="T22" fmla="*/ 25 w 33"/>
                <a:gd name="T23" fmla="*/ 34 h 46"/>
                <a:gd name="T24" fmla="*/ 25 w 33"/>
                <a:gd name="T25" fmla="*/ 22 h 46"/>
                <a:gd name="T26" fmla="*/ 23 w 33"/>
                <a:gd name="T27" fmla="*/ 21 h 46"/>
                <a:gd name="T28" fmla="*/ 14 w 33"/>
                <a:gd name="T29" fmla="*/ 22 h 46"/>
                <a:gd name="T30" fmla="*/ 19 w 33"/>
                <a:gd name="T31" fmla="*/ 16 h 46"/>
                <a:gd name="T32" fmla="*/ 17 w 33"/>
                <a:gd name="T33" fmla="*/ 9 h 46"/>
                <a:gd name="T34" fmla="*/ 14 w 33"/>
                <a:gd name="T35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6">
                  <a:moveTo>
                    <a:pt x="23" y="21"/>
                  </a:moveTo>
                  <a:cubicBezTo>
                    <a:pt x="21" y="23"/>
                    <a:pt x="20" y="25"/>
                    <a:pt x="18" y="27"/>
                  </a:cubicBezTo>
                  <a:cubicBezTo>
                    <a:pt x="14" y="31"/>
                    <a:pt x="12" y="30"/>
                    <a:pt x="9" y="27"/>
                  </a:cubicBezTo>
                  <a:cubicBezTo>
                    <a:pt x="0" y="18"/>
                    <a:pt x="3" y="8"/>
                    <a:pt x="14" y="2"/>
                  </a:cubicBezTo>
                  <a:cubicBezTo>
                    <a:pt x="17" y="0"/>
                    <a:pt x="20" y="0"/>
                    <a:pt x="23" y="3"/>
                  </a:cubicBezTo>
                  <a:cubicBezTo>
                    <a:pt x="25" y="5"/>
                    <a:pt x="27" y="7"/>
                    <a:pt x="29" y="8"/>
                  </a:cubicBezTo>
                  <a:cubicBezTo>
                    <a:pt x="29" y="9"/>
                    <a:pt x="30" y="9"/>
                    <a:pt x="30" y="10"/>
                  </a:cubicBezTo>
                  <a:cubicBezTo>
                    <a:pt x="31" y="16"/>
                    <a:pt x="33" y="22"/>
                    <a:pt x="33" y="27"/>
                  </a:cubicBezTo>
                  <a:cubicBezTo>
                    <a:pt x="33" y="33"/>
                    <a:pt x="33" y="39"/>
                    <a:pt x="29" y="44"/>
                  </a:cubicBezTo>
                  <a:cubicBezTo>
                    <a:pt x="29" y="45"/>
                    <a:pt x="27" y="46"/>
                    <a:pt x="26" y="45"/>
                  </a:cubicBezTo>
                  <a:cubicBezTo>
                    <a:pt x="25" y="45"/>
                    <a:pt x="24" y="43"/>
                    <a:pt x="24" y="42"/>
                  </a:cubicBezTo>
                  <a:cubicBezTo>
                    <a:pt x="24" y="39"/>
                    <a:pt x="25" y="36"/>
                    <a:pt x="25" y="34"/>
                  </a:cubicBezTo>
                  <a:cubicBezTo>
                    <a:pt x="26" y="30"/>
                    <a:pt x="25" y="26"/>
                    <a:pt x="25" y="22"/>
                  </a:cubicBezTo>
                  <a:cubicBezTo>
                    <a:pt x="24" y="22"/>
                    <a:pt x="23" y="21"/>
                    <a:pt x="23" y="21"/>
                  </a:cubicBezTo>
                  <a:moveTo>
                    <a:pt x="14" y="22"/>
                  </a:moveTo>
                  <a:cubicBezTo>
                    <a:pt x="16" y="19"/>
                    <a:pt x="19" y="18"/>
                    <a:pt x="19" y="16"/>
                  </a:cubicBezTo>
                  <a:cubicBezTo>
                    <a:pt x="20" y="14"/>
                    <a:pt x="18" y="11"/>
                    <a:pt x="17" y="9"/>
                  </a:cubicBezTo>
                  <a:cubicBezTo>
                    <a:pt x="11" y="11"/>
                    <a:pt x="10" y="15"/>
                    <a:pt x="14" y="22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3" name="Freeform 2056">
              <a:extLst>
                <a:ext uri="{FF2B5EF4-FFF2-40B4-BE49-F238E27FC236}">
                  <a16:creationId xmlns:a16="http://schemas.microsoft.com/office/drawing/2014/main" id="{2FC11E61-230B-41D0-BF4D-E517550866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7255" y="1103314"/>
              <a:ext cx="38100" cy="44450"/>
            </a:xfrm>
            <a:custGeom>
              <a:avLst/>
              <a:gdLst>
                <a:gd name="T0" fmla="*/ 24 w 37"/>
                <a:gd name="T1" fmla="*/ 17 h 43"/>
                <a:gd name="T2" fmla="*/ 34 w 37"/>
                <a:gd name="T3" fmla="*/ 16 h 43"/>
                <a:gd name="T4" fmla="*/ 28 w 37"/>
                <a:gd name="T5" fmla="*/ 25 h 43"/>
                <a:gd name="T6" fmla="*/ 25 w 37"/>
                <a:gd name="T7" fmla="*/ 30 h 43"/>
                <a:gd name="T8" fmla="*/ 25 w 37"/>
                <a:gd name="T9" fmla="*/ 40 h 43"/>
                <a:gd name="T10" fmla="*/ 23 w 37"/>
                <a:gd name="T11" fmla="*/ 43 h 43"/>
                <a:gd name="T12" fmla="*/ 19 w 37"/>
                <a:gd name="T13" fmla="*/ 39 h 43"/>
                <a:gd name="T14" fmla="*/ 17 w 37"/>
                <a:gd name="T15" fmla="*/ 27 h 43"/>
                <a:gd name="T16" fmla="*/ 14 w 37"/>
                <a:gd name="T17" fmla="*/ 24 h 43"/>
                <a:gd name="T18" fmla="*/ 3 w 37"/>
                <a:gd name="T19" fmla="*/ 23 h 43"/>
                <a:gd name="T20" fmla="*/ 1 w 37"/>
                <a:gd name="T21" fmla="*/ 18 h 43"/>
                <a:gd name="T22" fmla="*/ 10 w 37"/>
                <a:gd name="T23" fmla="*/ 5 h 43"/>
                <a:gd name="T24" fmla="*/ 19 w 37"/>
                <a:gd name="T25" fmla="*/ 0 h 43"/>
                <a:gd name="T26" fmla="*/ 24 w 37"/>
                <a:gd name="T27" fmla="*/ 4 h 43"/>
                <a:gd name="T28" fmla="*/ 24 w 37"/>
                <a:gd name="T29" fmla="*/ 17 h 43"/>
                <a:gd name="T30" fmla="*/ 15 w 37"/>
                <a:gd name="T31" fmla="*/ 10 h 43"/>
                <a:gd name="T32" fmla="*/ 12 w 37"/>
                <a:gd name="T33" fmla="*/ 16 h 43"/>
                <a:gd name="T34" fmla="*/ 16 w 37"/>
                <a:gd name="T35" fmla="*/ 16 h 43"/>
                <a:gd name="T36" fmla="*/ 15 w 37"/>
                <a:gd name="T37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" h="43">
                  <a:moveTo>
                    <a:pt x="24" y="17"/>
                  </a:moveTo>
                  <a:cubicBezTo>
                    <a:pt x="28" y="16"/>
                    <a:pt x="31" y="16"/>
                    <a:pt x="34" y="16"/>
                  </a:cubicBezTo>
                  <a:cubicBezTo>
                    <a:pt x="37" y="22"/>
                    <a:pt x="35" y="25"/>
                    <a:pt x="28" y="25"/>
                  </a:cubicBezTo>
                  <a:cubicBezTo>
                    <a:pt x="25" y="25"/>
                    <a:pt x="24" y="26"/>
                    <a:pt x="25" y="30"/>
                  </a:cubicBezTo>
                  <a:cubicBezTo>
                    <a:pt x="26" y="33"/>
                    <a:pt x="25" y="36"/>
                    <a:pt x="25" y="40"/>
                  </a:cubicBezTo>
                  <a:cubicBezTo>
                    <a:pt x="25" y="41"/>
                    <a:pt x="23" y="42"/>
                    <a:pt x="23" y="43"/>
                  </a:cubicBezTo>
                  <a:cubicBezTo>
                    <a:pt x="21" y="41"/>
                    <a:pt x="19" y="40"/>
                    <a:pt x="19" y="39"/>
                  </a:cubicBezTo>
                  <a:cubicBezTo>
                    <a:pt x="18" y="35"/>
                    <a:pt x="18" y="31"/>
                    <a:pt x="17" y="27"/>
                  </a:cubicBezTo>
                  <a:cubicBezTo>
                    <a:pt x="17" y="25"/>
                    <a:pt x="16" y="25"/>
                    <a:pt x="14" y="24"/>
                  </a:cubicBezTo>
                  <a:cubicBezTo>
                    <a:pt x="10" y="24"/>
                    <a:pt x="7" y="23"/>
                    <a:pt x="3" y="23"/>
                  </a:cubicBezTo>
                  <a:cubicBezTo>
                    <a:pt x="1" y="22"/>
                    <a:pt x="0" y="20"/>
                    <a:pt x="1" y="18"/>
                  </a:cubicBezTo>
                  <a:cubicBezTo>
                    <a:pt x="4" y="14"/>
                    <a:pt x="7" y="9"/>
                    <a:pt x="10" y="5"/>
                  </a:cubicBezTo>
                  <a:cubicBezTo>
                    <a:pt x="12" y="2"/>
                    <a:pt x="15" y="0"/>
                    <a:pt x="19" y="0"/>
                  </a:cubicBezTo>
                  <a:cubicBezTo>
                    <a:pt x="22" y="0"/>
                    <a:pt x="23" y="1"/>
                    <a:pt x="24" y="4"/>
                  </a:cubicBezTo>
                  <a:cubicBezTo>
                    <a:pt x="24" y="8"/>
                    <a:pt x="24" y="12"/>
                    <a:pt x="24" y="17"/>
                  </a:cubicBezTo>
                  <a:moveTo>
                    <a:pt x="15" y="10"/>
                  </a:moveTo>
                  <a:cubicBezTo>
                    <a:pt x="14" y="12"/>
                    <a:pt x="13" y="14"/>
                    <a:pt x="12" y="16"/>
                  </a:cubicBezTo>
                  <a:cubicBezTo>
                    <a:pt x="13" y="16"/>
                    <a:pt x="15" y="17"/>
                    <a:pt x="16" y="16"/>
                  </a:cubicBezTo>
                  <a:cubicBezTo>
                    <a:pt x="17" y="14"/>
                    <a:pt x="17" y="12"/>
                    <a:pt x="15" y="10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4" name="Freeform 2057">
              <a:extLst>
                <a:ext uri="{FF2B5EF4-FFF2-40B4-BE49-F238E27FC236}">
                  <a16:creationId xmlns:a16="http://schemas.microsoft.com/office/drawing/2014/main" id="{E8986A35-E8CD-46C1-B960-D667B81580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645967" y="885827"/>
              <a:ext cx="39688" cy="39688"/>
            </a:xfrm>
            <a:custGeom>
              <a:avLst/>
              <a:gdLst>
                <a:gd name="T0" fmla="*/ 13 w 40"/>
                <a:gd name="T1" fmla="*/ 11 h 41"/>
                <a:gd name="T2" fmla="*/ 7 w 40"/>
                <a:gd name="T3" fmla="*/ 15 h 41"/>
                <a:gd name="T4" fmla="*/ 1 w 40"/>
                <a:gd name="T5" fmla="*/ 15 h 41"/>
                <a:gd name="T6" fmla="*/ 3 w 40"/>
                <a:gd name="T7" fmla="*/ 8 h 41"/>
                <a:gd name="T8" fmla="*/ 10 w 40"/>
                <a:gd name="T9" fmla="*/ 4 h 41"/>
                <a:gd name="T10" fmla="*/ 21 w 40"/>
                <a:gd name="T11" fmla="*/ 11 h 41"/>
                <a:gd name="T12" fmla="*/ 17 w 40"/>
                <a:gd name="T13" fmla="*/ 27 h 41"/>
                <a:gd name="T14" fmla="*/ 17 w 40"/>
                <a:gd name="T15" fmla="*/ 30 h 41"/>
                <a:gd name="T16" fmla="*/ 33 w 40"/>
                <a:gd name="T17" fmla="*/ 21 h 41"/>
                <a:gd name="T18" fmla="*/ 39 w 40"/>
                <a:gd name="T19" fmla="*/ 21 h 41"/>
                <a:gd name="T20" fmla="*/ 37 w 40"/>
                <a:gd name="T21" fmla="*/ 28 h 41"/>
                <a:gd name="T22" fmla="*/ 12 w 40"/>
                <a:gd name="T23" fmla="*/ 40 h 41"/>
                <a:gd name="T24" fmla="*/ 6 w 40"/>
                <a:gd name="T25" fmla="*/ 39 h 41"/>
                <a:gd name="T26" fmla="*/ 6 w 40"/>
                <a:gd name="T27" fmla="*/ 34 h 41"/>
                <a:gd name="T28" fmla="*/ 11 w 40"/>
                <a:gd name="T29" fmla="*/ 24 h 41"/>
                <a:gd name="T30" fmla="*/ 14 w 40"/>
                <a:gd name="T31" fmla="*/ 18 h 41"/>
                <a:gd name="T32" fmla="*/ 13 w 40"/>
                <a:gd name="T33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41">
                  <a:moveTo>
                    <a:pt x="13" y="11"/>
                  </a:moveTo>
                  <a:cubicBezTo>
                    <a:pt x="11" y="12"/>
                    <a:pt x="9" y="14"/>
                    <a:pt x="7" y="15"/>
                  </a:cubicBezTo>
                  <a:cubicBezTo>
                    <a:pt x="5" y="18"/>
                    <a:pt x="3" y="17"/>
                    <a:pt x="1" y="15"/>
                  </a:cubicBezTo>
                  <a:cubicBezTo>
                    <a:pt x="0" y="12"/>
                    <a:pt x="0" y="10"/>
                    <a:pt x="3" y="8"/>
                  </a:cubicBezTo>
                  <a:cubicBezTo>
                    <a:pt x="5" y="7"/>
                    <a:pt x="7" y="6"/>
                    <a:pt x="10" y="4"/>
                  </a:cubicBezTo>
                  <a:cubicBezTo>
                    <a:pt x="16" y="0"/>
                    <a:pt x="20" y="6"/>
                    <a:pt x="21" y="11"/>
                  </a:cubicBezTo>
                  <a:cubicBezTo>
                    <a:pt x="22" y="17"/>
                    <a:pt x="20" y="22"/>
                    <a:pt x="17" y="27"/>
                  </a:cubicBezTo>
                  <a:cubicBezTo>
                    <a:pt x="17" y="28"/>
                    <a:pt x="16" y="28"/>
                    <a:pt x="17" y="30"/>
                  </a:cubicBezTo>
                  <a:cubicBezTo>
                    <a:pt x="22" y="27"/>
                    <a:pt x="27" y="24"/>
                    <a:pt x="33" y="21"/>
                  </a:cubicBezTo>
                  <a:cubicBezTo>
                    <a:pt x="35" y="20"/>
                    <a:pt x="37" y="18"/>
                    <a:pt x="39" y="21"/>
                  </a:cubicBezTo>
                  <a:cubicBezTo>
                    <a:pt x="40" y="23"/>
                    <a:pt x="40" y="26"/>
                    <a:pt x="37" y="28"/>
                  </a:cubicBezTo>
                  <a:cubicBezTo>
                    <a:pt x="28" y="32"/>
                    <a:pt x="20" y="36"/>
                    <a:pt x="12" y="40"/>
                  </a:cubicBezTo>
                  <a:cubicBezTo>
                    <a:pt x="10" y="41"/>
                    <a:pt x="7" y="40"/>
                    <a:pt x="6" y="39"/>
                  </a:cubicBezTo>
                  <a:cubicBezTo>
                    <a:pt x="5" y="38"/>
                    <a:pt x="5" y="35"/>
                    <a:pt x="6" y="34"/>
                  </a:cubicBezTo>
                  <a:cubicBezTo>
                    <a:pt x="8" y="30"/>
                    <a:pt x="10" y="27"/>
                    <a:pt x="11" y="24"/>
                  </a:cubicBezTo>
                  <a:cubicBezTo>
                    <a:pt x="12" y="22"/>
                    <a:pt x="14" y="20"/>
                    <a:pt x="14" y="18"/>
                  </a:cubicBezTo>
                  <a:cubicBezTo>
                    <a:pt x="15" y="16"/>
                    <a:pt x="14" y="14"/>
                    <a:pt x="13" y="11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5" name="Freeform 2058">
              <a:extLst>
                <a:ext uri="{FF2B5EF4-FFF2-40B4-BE49-F238E27FC236}">
                  <a16:creationId xmlns:a16="http://schemas.microsoft.com/office/drawing/2014/main" id="{B73B7A02-EB86-4C8C-8B6D-E5EEE1FD97A5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8042" y="1177927"/>
              <a:ext cx="30163" cy="42863"/>
            </a:xfrm>
            <a:custGeom>
              <a:avLst/>
              <a:gdLst>
                <a:gd name="T0" fmla="*/ 0 w 30"/>
                <a:gd name="T1" fmla="*/ 38 h 43"/>
                <a:gd name="T2" fmla="*/ 19 w 30"/>
                <a:gd name="T3" fmla="*/ 28 h 43"/>
                <a:gd name="T4" fmla="*/ 19 w 30"/>
                <a:gd name="T5" fmla="*/ 26 h 43"/>
                <a:gd name="T6" fmla="*/ 13 w 30"/>
                <a:gd name="T7" fmla="*/ 26 h 43"/>
                <a:gd name="T8" fmla="*/ 7 w 30"/>
                <a:gd name="T9" fmla="*/ 18 h 43"/>
                <a:gd name="T10" fmla="*/ 8 w 30"/>
                <a:gd name="T11" fmla="*/ 6 h 43"/>
                <a:gd name="T12" fmla="*/ 14 w 30"/>
                <a:gd name="T13" fmla="*/ 1 h 43"/>
                <a:gd name="T14" fmla="*/ 20 w 30"/>
                <a:gd name="T15" fmla="*/ 0 h 43"/>
                <a:gd name="T16" fmla="*/ 26 w 30"/>
                <a:gd name="T17" fmla="*/ 1 h 43"/>
                <a:gd name="T18" fmla="*/ 26 w 30"/>
                <a:gd name="T19" fmla="*/ 7 h 43"/>
                <a:gd name="T20" fmla="*/ 20 w 30"/>
                <a:gd name="T21" fmla="*/ 9 h 43"/>
                <a:gd name="T22" fmla="*/ 16 w 30"/>
                <a:gd name="T23" fmla="*/ 10 h 43"/>
                <a:gd name="T24" fmla="*/ 16 w 30"/>
                <a:gd name="T25" fmla="*/ 16 h 43"/>
                <a:gd name="T26" fmla="*/ 19 w 30"/>
                <a:gd name="T27" fmla="*/ 17 h 43"/>
                <a:gd name="T28" fmla="*/ 28 w 30"/>
                <a:gd name="T29" fmla="*/ 21 h 43"/>
                <a:gd name="T30" fmla="*/ 24 w 30"/>
                <a:gd name="T31" fmla="*/ 33 h 43"/>
                <a:gd name="T32" fmla="*/ 7 w 30"/>
                <a:gd name="T33" fmla="*/ 41 h 43"/>
                <a:gd name="T34" fmla="*/ 0 w 30"/>
                <a:gd name="T35" fmla="*/ 3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0" h="43">
                  <a:moveTo>
                    <a:pt x="0" y="38"/>
                  </a:moveTo>
                  <a:cubicBezTo>
                    <a:pt x="7" y="34"/>
                    <a:pt x="13" y="31"/>
                    <a:pt x="19" y="28"/>
                  </a:cubicBezTo>
                  <a:cubicBezTo>
                    <a:pt x="19" y="27"/>
                    <a:pt x="19" y="27"/>
                    <a:pt x="19" y="26"/>
                  </a:cubicBezTo>
                  <a:cubicBezTo>
                    <a:pt x="17" y="26"/>
                    <a:pt x="15" y="26"/>
                    <a:pt x="13" y="26"/>
                  </a:cubicBezTo>
                  <a:cubicBezTo>
                    <a:pt x="10" y="25"/>
                    <a:pt x="7" y="21"/>
                    <a:pt x="7" y="18"/>
                  </a:cubicBezTo>
                  <a:cubicBezTo>
                    <a:pt x="7" y="14"/>
                    <a:pt x="8" y="10"/>
                    <a:pt x="8" y="6"/>
                  </a:cubicBezTo>
                  <a:cubicBezTo>
                    <a:pt x="8" y="2"/>
                    <a:pt x="11" y="1"/>
                    <a:pt x="14" y="1"/>
                  </a:cubicBezTo>
                  <a:cubicBezTo>
                    <a:pt x="16" y="0"/>
                    <a:pt x="18" y="0"/>
                    <a:pt x="20" y="0"/>
                  </a:cubicBezTo>
                  <a:cubicBezTo>
                    <a:pt x="22" y="0"/>
                    <a:pt x="25" y="0"/>
                    <a:pt x="26" y="1"/>
                  </a:cubicBezTo>
                  <a:cubicBezTo>
                    <a:pt x="27" y="2"/>
                    <a:pt x="27" y="5"/>
                    <a:pt x="26" y="7"/>
                  </a:cubicBezTo>
                  <a:cubicBezTo>
                    <a:pt x="25" y="10"/>
                    <a:pt x="23" y="9"/>
                    <a:pt x="20" y="9"/>
                  </a:cubicBezTo>
                  <a:cubicBezTo>
                    <a:pt x="19" y="9"/>
                    <a:pt x="16" y="9"/>
                    <a:pt x="16" y="10"/>
                  </a:cubicBezTo>
                  <a:cubicBezTo>
                    <a:pt x="15" y="12"/>
                    <a:pt x="15" y="14"/>
                    <a:pt x="16" y="16"/>
                  </a:cubicBezTo>
                  <a:cubicBezTo>
                    <a:pt x="16" y="16"/>
                    <a:pt x="18" y="17"/>
                    <a:pt x="19" y="17"/>
                  </a:cubicBezTo>
                  <a:cubicBezTo>
                    <a:pt x="23" y="17"/>
                    <a:pt x="27" y="17"/>
                    <a:pt x="28" y="21"/>
                  </a:cubicBezTo>
                  <a:cubicBezTo>
                    <a:pt x="30" y="24"/>
                    <a:pt x="27" y="31"/>
                    <a:pt x="24" y="33"/>
                  </a:cubicBezTo>
                  <a:cubicBezTo>
                    <a:pt x="19" y="36"/>
                    <a:pt x="13" y="39"/>
                    <a:pt x="7" y="41"/>
                  </a:cubicBezTo>
                  <a:cubicBezTo>
                    <a:pt x="3" y="43"/>
                    <a:pt x="2" y="43"/>
                    <a:pt x="0" y="38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6" name="Freeform 2059">
              <a:extLst>
                <a:ext uri="{FF2B5EF4-FFF2-40B4-BE49-F238E27FC236}">
                  <a16:creationId xmlns:a16="http://schemas.microsoft.com/office/drawing/2014/main" id="{AFA14BC0-7AA1-44F8-A7C7-A8E718E47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6305" y="1022352"/>
              <a:ext cx="30163" cy="44450"/>
            </a:xfrm>
            <a:custGeom>
              <a:avLst/>
              <a:gdLst>
                <a:gd name="T0" fmla="*/ 19 w 29"/>
                <a:gd name="T1" fmla="*/ 24 h 44"/>
                <a:gd name="T2" fmla="*/ 9 w 29"/>
                <a:gd name="T3" fmla="*/ 24 h 44"/>
                <a:gd name="T4" fmla="*/ 8 w 29"/>
                <a:gd name="T5" fmla="*/ 18 h 44"/>
                <a:gd name="T6" fmla="*/ 10 w 29"/>
                <a:gd name="T7" fmla="*/ 16 h 44"/>
                <a:gd name="T8" fmla="*/ 13 w 29"/>
                <a:gd name="T9" fmla="*/ 10 h 44"/>
                <a:gd name="T10" fmla="*/ 8 w 29"/>
                <a:gd name="T11" fmla="*/ 8 h 44"/>
                <a:gd name="T12" fmla="*/ 3 w 29"/>
                <a:gd name="T13" fmla="*/ 9 h 44"/>
                <a:gd name="T14" fmla="*/ 0 w 29"/>
                <a:gd name="T15" fmla="*/ 5 h 44"/>
                <a:gd name="T16" fmla="*/ 5 w 29"/>
                <a:gd name="T17" fmla="*/ 1 h 44"/>
                <a:gd name="T18" fmla="*/ 14 w 29"/>
                <a:gd name="T19" fmla="*/ 0 h 44"/>
                <a:gd name="T20" fmla="*/ 19 w 29"/>
                <a:gd name="T21" fmla="*/ 8 h 44"/>
                <a:gd name="T22" fmla="*/ 18 w 29"/>
                <a:gd name="T23" fmla="*/ 15 h 44"/>
                <a:gd name="T24" fmla="*/ 23 w 29"/>
                <a:gd name="T25" fmla="*/ 15 h 44"/>
                <a:gd name="T26" fmla="*/ 27 w 29"/>
                <a:gd name="T27" fmla="*/ 20 h 44"/>
                <a:gd name="T28" fmla="*/ 13 w 29"/>
                <a:gd name="T29" fmla="*/ 43 h 44"/>
                <a:gd name="T30" fmla="*/ 8 w 29"/>
                <a:gd name="T31" fmla="*/ 44 h 44"/>
                <a:gd name="T32" fmla="*/ 3 w 29"/>
                <a:gd name="T33" fmla="*/ 38 h 44"/>
                <a:gd name="T34" fmla="*/ 6 w 29"/>
                <a:gd name="T35" fmla="*/ 36 h 44"/>
                <a:gd name="T36" fmla="*/ 12 w 29"/>
                <a:gd name="T37" fmla="*/ 35 h 44"/>
                <a:gd name="T38" fmla="*/ 19 w 29"/>
                <a:gd name="T39" fmla="*/ 2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" h="44">
                  <a:moveTo>
                    <a:pt x="19" y="24"/>
                  </a:moveTo>
                  <a:cubicBezTo>
                    <a:pt x="9" y="24"/>
                    <a:pt x="9" y="24"/>
                    <a:pt x="9" y="24"/>
                  </a:cubicBezTo>
                  <a:cubicBezTo>
                    <a:pt x="8" y="22"/>
                    <a:pt x="8" y="20"/>
                    <a:pt x="8" y="18"/>
                  </a:cubicBezTo>
                  <a:cubicBezTo>
                    <a:pt x="8" y="17"/>
                    <a:pt x="9" y="16"/>
                    <a:pt x="10" y="16"/>
                  </a:cubicBezTo>
                  <a:cubicBezTo>
                    <a:pt x="13" y="15"/>
                    <a:pt x="12" y="12"/>
                    <a:pt x="13" y="10"/>
                  </a:cubicBezTo>
                  <a:cubicBezTo>
                    <a:pt x="13" y="10"/>
                    <a:pt x="10" y="8"/>
                    <a:pt x="8" y="8"/>
                  </a:cubicBezTo>
                  <a:cubicBezTo>
                    <a:pt x="7" y="8"/>
                    <a:pt x="5" y="9"/>
                    <a:pt x="3" y="9"/>
                  </a:cubicBezTo>
                  <a:cubicBezTo>
                    <a:pt x="2" y="8"/>
                    <a:pt x="0" y="5"/>
                    <a:pt x="0" y="5"/>
                  </a:cubicBezTo>
                  <a:cubicBezTo>
                    <a:pt x="1" y="3"/>
                    <a:pt x="3" y="1"/>
                    <a:pt x="5" y="1"/>
                  </a:cubicBezTo>
                  <a:cubicBezTo>
                    <a:pt x="8" y="0"/>
                    <a:pt x="11" y="0"/>
                    <a:pt x="14" y="0"/>
                  </a:cubicBezTo>
                  <a:cubicBezTo>
                    <a:pt x="17" y="0"/>
                    <a:pt x="20" y="4"/>
                    <a:pt x="19" y="8"/>
                  </a:cubicBezTo>
                  <a:cubicBezTo>
                    <a:pt x="19" y="10"/>
                    <a:pt x="19" y="12"/>
                    <a:pt x="18" y="15"/>
                  </a:cubicBezTo>
                  <a:cubicBezTo>
                    <a:pt x="20" y="15"/>
                    <a:pt x="21" y="15"/>
                    <a:pt x="23" y="15"/>
                  </a:cubicBezTo>
                  <a:cubicBezTo>
                    <a:pt x="27" y="15"/>
                    <a:pt x="29" y="17"/>
                    <a:pt x="27" y="20"/>
                  </a:cubicBezTo>
                  <a:cubicBezTo>
                    <a:pt x="24" y="29"/>
                    <a:pt x="20" y="36"/>
                    <a:pt x="13" y="43"/>
                  </a:cubicBezTo>
                  <a:cubicBezTo>
                    <a:pt x="12" y="44"/>
                    <a:pt x="9" y="44"/>
                    <a:pt x="8" y="44"/>
                  </a:cubicBezTo>
                  <a:cubicBezTo>
                    <a:pt x="4" y="44"/>
                    <a:pt x="4" y="40"/>
                    <a:pt x="3" y="38"/>
                  </a:cubicBezTo>
                  <a:cubicBezTo>
                    <a:pt x="3" y="37"/>
                    <a:pt x="5" y="36"/>
                    <a:pt x="6" y="36"/>
                  </a:cubicBezTo>
                  <a:cubicBezTo>
                    <a:pt x="8" y="36"/>
                    <a:pt x="10" y="36"/>
                    <a:pt x="12" y="35"/>
                  </a:cubicBezTo>
                  <a:cubicBezTo>
                    <a:pt x="14" y="32"/>
                    <a:pt x="16" y="28"/>
                    <a:pt x="19" y="24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7" name="Freeform 2060">
              <a:extLst>
                <a:ext uri="{FF2B5EF4-FFF2-40B4-BE49-F238E27FC236}">
                  <a16:creationId xmlns:a16="http://schemas.microsoft.com/office/drawing/2014/main" id="{D22B88FD-83AF-4892-B0E3-AF92D87CB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2776142" y="957264"/>
              <a:ext cx="33338" cy="34925"/>
            </a:xfrm>
            <a:custGeom>
              <a:avLst/>
              <a:gdLst>
                <a:gd name="T0" fmla="*/ 10 w 34"/>
                <a:gd name="T1" fmla="*/ 12 h 35"/>
                <a:gd name="T2" fmla="*/ 0 w 34"/>
                <a:gd name="T3" fmla="*/ 12 h 35"/>
                <a:gd name="T4" fmla="*/ 7 w 34"/>
                <a:gd name="T5" fmla="*/ 3 h 35"/>
                <a:gd name="T6" fmla="*/ 14 w 34"/>
                <a:gd name="T7" fmla="*/ 2 h 35"/>
                <a:gd name="T8" fmla="*/ 18 w 34"/>
                <a:gd name="T9" fmla="*/ 8 h 35"/>
                <a:gd name="T10" fmla="*/ 15 w 34"/>
                <a:gd name="T11" fmla="*/ 21 h 35"/>
                <a:gd name="T12" fmla="*/ 14 w 34"/>
                <a:gd name="T13" fmla="*/ 22 h 35"/>
                <a:gd name="T14" fmla="*/ 24 w 34"/>
                <a:gd name="T15" fmla="*/ 19 h 35"/>
                <a:gd name="T16" fmla="*/ 29 w 34"/>
                <a:gd name="T17" fmla="*/ 18 h 35"/>
                <a:gd name="T18" fmla="*/ 34 w 34"/>
                <a:gd name="T19" fmla="*/ 23 h 35"/>
                <a:gd name="T20" fmla="*/ 28 w 34"/>
                <a:gd name="T21" fmla="*/ 28 h 35"/>
                <a:gd name="T22" fmla="*/ 20 w 34"/>
                <a:gd name="T23" fmla="*/ 29 h 35"/>
                <a:gd name="T24" fmla="*/ 13 w 34"/>
                <a:gd name="T25" fmla="*/ 34 h 35"/>
                <a:gd name="T26" fmla="*/ 4 w 34"/>
                <a:gd name="T27" fmla="*/ 33 h 35"/>
                <a:gd name="T28" fmla="*/ 5 w 34"/>
                <a:gd name="T29" fmla="*/ 26 h 35"/>
                <a:gd name="T30" fmla="*/ 11 w 34"/>
                <a:gd name="T31" fmla="*/ 13 h 35"/>
                <a:gd name="T32" fmla="*/ 10 w 34"/>
                <a:gd name="T33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35">
                  <a:moveTo>
                    <a:pt x="10" y="12"/>
                  </a:moveTo>
                  <a:cubicBezTo>
                    <a:pt x="7" y="15"/>
                    <a:pt x="3" y="17"/>
                    <a:pt x="0" y="12"/>
                  </a:cubicBezTo>
                  <a:cubicBezTo>
                    <a:pt x="2" y="9"/>
                    <a:pt x="5" y="6"/>
                    <a:pt x="7" y="3"/>
                  </a:cubicBezTo>
                  <a:cubicBezTo>
                    <a:pt x="9" y="0"/>
                    <a:pt x="12" y="0"/>
                    <a:pt x="14" y="2"/>
                  </a:cubicBezTo>
                  <a:cubicBezTo>
                    <a:pt x="16" y="3"/>
                    <a:pt x="18" y="6"/>
                    <a:pt x="18" y="8"/>
                  </a:cubicBezTo>
                  <a:cubicBezTo>
                    <a:pt x="17" y="12"/>
                    <a:pt x="16" y="16"/>
                    <a:pt x="15" y="21"/>
                  </a:cubicBezTo>
                  <a:cubicBezTo>
                    <a:pt x="14" y="21"/>
                    <a:pt x="14" y="21"/>
                    <a:pt x="14" y="22"/>
                  </a:cubicBezTo>
                  <a:cubicBezTo>
                    <a:pt x="18" y="21"/>
                    <a:pt x="21" y="20"/>
                    <a:pt x="24" y="19"/>
                  </a:cubicBezTo>
                  <a:cubicBezTo>
                    <a:pt x="26" y="18"/>
                    <a:pt x="27" y="18"/>
                    <a:pt x="29" y="18"/>
                  </a:cubicBezTo>
                  <a:cubicBezTo>
                    <a:pt x="32" y="18"/>
                    <a:pt x="34" y="20"/>
                    <a:pt x="34" y="23"/>
                  </a:cubicBezTo>
                  <a:cubicBezTo>
                    <a:pt x="34" y="25"/>
                    <a:pt x="30" y="27"/>
                    <a:pt x="28" y="28"/>
                  </a:cubicBezTo>
                  <a:cubicBezTo>
                    <a:pt x="25" y="28"/>
                    <a:pt x="23" y="28"/>
                    <a:pt x="20" y="29"/>
                  </a:cubicBezTo>
                  <a:cubicBezTo>
                    <a:pt x="18" y="30"/>
                    <a:pt x="16" y="33"/>
                    <a:pt x="13" y="34"/>
                  </a:cubicBezTo>
                  <a:cubicBezTo>
                    <a:pt x="10" y="35"/>
                    <a:pt x="6" y="35"/>
                    <a:pt x="4" y="33"/>
                  </a:cubicBezTo>
                  <a:cubicBezTo>
                    <a:pt x="2" y="31"/>
                    <a:pt x="4" y="28"/>
                    <a:pt x="5" y="26"/>
                  </a:cubicBezTo>
                  <a:cubicBezTo>
                    <a:pt x="8" y="22"/>
                    <a:pt x="9" y="17"/>
                    <a:pt x="11" y="13"/>
                  </a:cubicBezTo>
                  <a:cubicBezTo>
                    <a:pt x="11" y="13"/>
                    <a:pt x="10" y="12"/>
                    <a:pt x="10" y="12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8" name="Freeform 2061">
              <a:extLst>
                <a:ext uri="{FF2B5EF4-FFF2-40B4-BE49-F238E27FC236}">
                  <a16:creationId xmlns:a16="http://schemas.microsoft.com/office/drawing/2014/main" id="{1D804CAE-0152-400D-8601-E155857D95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4680" y="993777"/>
              <a:ext cx="19050" cy="28575"/>
            </a:xfrm>
            <a:custGeom>
              <a:avLst/>
              <a:gdLst>
                <a:gd name="T0" fmla="*/ 0 w 19"/>
                <a:gd name="T1" fmla="*/ 15 h 27"/>
                <a:gd name="T2" fmla="*/ 2 w 19"/>
                <a:gd name="T3" fmla="*/ 3 h 27"/>
                <a:gd name="T4" fmla="*/ 6 w 19"/>
                <a:gd name="T5" fmla="*/ 0 h 27"/>
                <a:gd name="T6" fmla="*/ 16 w 19"/>
                <a:gd name="T7" fmla="*/ 6 h 27"/>
                <a:gd name="T8" fmla="*/ 17 w 19"/>
                <a:gd name="T9" fmla="*/ 14 h 27"/>
                <a:gd name="T10" fmla="*/ 13 w 19"/>
                <a:gd name="T11" fmla="*/ 22 h 27"/>
                <a:gd name="T12" fmla="*/ 9 w 19"/>
                <a:gd name="T13" fmla="*/ 27 h 27"/>
                <a:gd name="T14" fmla="*/ 2 w 19"/>
                <a:gd name="T15" fmla="*/ 22 h 27"/>
                <a:gd name="T16" fmla="*/ 0 w 19"/>
                <a:gd name="T17" fmla="*/ 15 h 27"/>
                <a:gd name="T18" fmla="*/ 7 w 19"/>
                <a:gd name="T19" fmla="*/ 16 h 27"/>
                <a:gd name="T20" fmla="*/ 8 w 19"/>
                <a:gd name="T21" fmla="*/ 8 h 27"/>
                <a:gd name="T22" fmla="*/ 7 w 19"/>
                <a:gd name="T23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27">
                  <a:moveTo>
                    <a:pt x="0" y="15"/>
                  </a:moveTo>
                  <a:cubicBezTo>
                    <a:pt x="0" y="10"/>
                    <a:pt x="1" y="7"/>
                    <a:pt x="2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11" y="1"/>
                    <a:pt x="14" y="2"/>
                    <a:pt x="16" y="6"/>
                  </a:cubicBezTo>
                  <a:cubicBezTo>
                    <a:pt x="17" y="8"/>
                    <a:pt x="19" y="11"/>
                    <a:pt x="17" y="14"/>
                  </a:cubicBezTo>
                  <a:cubicBezTo>
                    <a:pt x="15" y="17"/>
                    <a:pt x="15" y="20"/>
                    <a:pt x="13" y="22"/>
                  </a:cubicBezTo>
                  <a:cubicBezTo>
                    <a:pt x="12" y="24"/>
                    <a:pt x="11" y="27"/>
                    <a:pt x="9" y="27"/>
                  </a:cubicBezTo>
                  <a:cubicBezTo>
                    <a:pt x="6" y="26"/>
                    <a:pt x="3" y="26"/>
                    <a:pt x="2" y="22"/>
                  </a:cubicBezTo>
                  <a:cubicBezTo>
                    <a:pt x="2" y="19"/>
                    <a:pt x="0" y="17"/>
                    <a:pt x="0" y="15"/>
                  </a:cubicBezTo>
                  <a:moveTo>
                    <a:pt x="7" y="16"/>
                  </a:moveTo>
                  <a:cubicBezTo>
                    <a:pt x="11" y="13"/>
                    <a:pt x="11" y="11"/>
                    <a:pt x="8" y="8"/>
                  </a:cubicBezTo>
                  <a:cubicBezTo>
                    <a:pt x="8" y="10"/>
                    <a:pt x="7" y="13"/>
                    <a:pt x="7" y="16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89" name="Freeform 2062">
              <a:extLst>
                <a:ext uri="{FF2B5EF4-FFF2-40B4-BE49-F238E27FC236}">
                  <a16:creationId xmlns:a16="http://schemas.microsoft.com/office/drawing/2014/main" id="{64EE9A93-ED00-4786-88F8-80B439B5CC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5167" y="1204914"/>
              <a:ext cx="22225" cy="31750"/>
            </a:xfrm>
            <a:custGeom>
              <a:avLst/>
              <a:gdLst>
                <a:gd name="T0" fmla="*/ 13 w 22"/>
                <a:gd name="T1" fmla="*/ 31 h 32"/>
                <a:gd name="T2" fmla="*/ 6 w 22"/>
                <a:gd name="T3" fmla="*/ 29 h 32"/>
                <a:gd name="T4" fmla="*/ 8 w 22"/>
                <a:gd name="T5" fmla="*/ 21 h 32"/>
                <a:gd name="T6" fmla="*/ 12 w 22"/>
                <a:gd name="T7" fmla="*/ 12 h 32"/>
                <a:gd name="T8" fmla="*/ 9 w 22"/>
                <a:gd name="T9" fmla="*/ 9 h 32"/>
                <a:gd name="T10" fmla="*/ 4 w 22"/>
                <a:gd name="T11" fmla="*/ 8 h 32"/>
                <a:gd name="T12" fmla="*/ 1 w 22"/>
                <a:gd name="T13" fmla="*/ 3 h 32"/>
                <a:gd name="T14" fmla="*/ 6 w 22"/>
                <a:gd name="T15" fmla="*/ 0 h 32"/>
                <a:gd name="T16" fmla="*/ 17 w 22"/>
                <a:gd name="T17" fmla="*/ 1 h 32"/>
                <a:gd name="T18" fmla="*/ 21 w 22"/>
                <a:gd name="T19" fmla="*/ 8 h 32"/>
                <a:gd name="T20" fmla="*/ 16 w 22"/>
                <a:gd name="T21" fmla="*/ 21 h 32"/>
                <a:gd name="T22" fmla="*/ 13 w 22"/>
                <a:gd name="T23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32">
                  <a:moveTo>
                    <a:pt x="13" y="31"/>
                  </a:moveTo>
                  <a:cubicBezTo>
                    <a:pt x="11" y="32"/>
                    <a:pt x="8" y="32"/>
                    <a:pt x="6" y="29"/>
                  </a:cubicBezTo>
                  <a:cubicBezTo>
                    <a:pt x="5" y="27"/>
                    <a:pt x="7" y="24"/>
                    <a:pt x="8" y="21"/>
                  </a:cubicBezTo>
                  <a:cubicBezTo>
                    <a:pt x="9" y="18"/>
                    <a:pt x="11" y="15"/>
                    <a:pt x="12" y="12"/>
                  </a:cubicBezTo>
                  <a:cubicBezTo>
                    <a:pt x="13" y="10"/>
                    <a:pt x="12" y="9"/>
                    <a:pt x="9" y="9"/>
                  </a:cubicBezTo>
                  <a:cubicBezTo>
                    <a:pt x="8" y="9"/>
                    <a:pt x="6" y="9"/>
                    <a:pt x="4" y="8"/>
                  </a:cubicBezTo>
                  <a:cubicBezTo>
                    <a:pt x="2" y="7"/>
                    <a:pt x="0" y="5"/>
                    <a:pt x="1" y="3"/>
                  </a:cubicBezTo>
                  <a:cubicBezTo>
                    <a:pt x="2" y="1"/>
                    <a:pt x="5" y="0"/>
                    <a:pt x="6" y="0"/>
                  </a:cubicBezTo>
                  <a:cubicBezTo>
                    <a:pt x="10" y="0"/>
                    <a:pt x="14" y="1"/>
                    <a:pt x="17" y="1"/>
                  </a:cubicBezTo>
                  <a:cubicBezTo>
                    <a:pt x="20" y="2"/>
                    <a:pt x="22" y="5"/>
                    <a:pt x="21" y="8"/>
                  </a:cubicBezTo>
                  <a:cubicBezTo>
                    <a:pt x="20" y="12"/>
                    <a:pt x="18" y="16"/>
                    <a:pt x="16" y="21"/>
                  </a:cubicBezTo>
                  <a:cubicBezTo>
                    <a:pt x="15" y="24"/>
                    <a:pt x="14" y="27"/>
                    <a:pt x="13" y="31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90" name="Freeform 2063">
              <a:extLst>
                <a:ext uri="{FF2B5EF4-FFF2-40B4-BE49-F238E27FC236}">
                  <a16:creationId xmlns:a16="http://schemas.microsoft.com/office/drawing/2014/main" id="{B060CC13-76FF-406F-BB73-D6B6F25E3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9130" y="931864"/>
              <a:ext cx="14288" cy="41275"/>
            </a:xfrm>
            <a:custGeom>
              <a:avLst/>
              <a:gdLst>
                <a:gd name="T0" fmla="*/ 3 w 15"/>
                <a:gd name="T1" fmla="*/ 20 h 41"/>
                <a:gd name="T2" fmla="*/ 3 w 15"/>
                <a:gd name="T3" fmla="*/ 11 h 41"/>
                <a:gd name="T4" fmla="*/ 3 w 15"/>
                <a:gd name="T5" fmla="*/ 9 h 41"/>
                <a:gd name="T6" fmla="*/ 3 w 15"/>
                <a:gd name="T7" fmla="*/ 3 h 41"/>
                <a:gd name="T8" fmla="*/ 7 w 15"/>
                <a:gd name="T9" fmla="*/ 0 h 41"/>
                <a:gd name="T10" fmla="*/ 11 w 15"/>
                <a:gd name="T11" fmla="*/ 5 h 41"/>
                <a:gd name="T12" fmla="*/ 11 w 15"/>
                <a:gd name="T13" fmla="*/ 27 h 41"/>
                <a:gd name="T14" fmla="*/ 12 w 15"/>
                <a:gd name="T15" fmla="*/ 31 h 41"/>
                <a:gd name="T16" fmla="*/ 14 w 15"/>
                <a:gd name="T17" fmla="*/ 35 h 41"/>
                <a:gd name="T18" fmla="*/ 10 w 15"/>
                <a:gd name="T19" fmla="*/ 40 h 41"/>
                <a:gd name="T20" fmla="*/ 4 w 15"/>
                <a:gd name="T21" fmla="*/ 36 h 41"/>
                <a:gd name="T22" fmla="*/ 3 w 15"/>
                <a:gd name="T23" fmla="*/ 19 h 41"/>
                <a:gd name="T24" fmla="*/ 3 w 15"/>
                <a:gd name="T25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41">
                  <a:moveTo>
                    <a:pt x="3" y="20"/>
                  </a:moveTo>
                  <a:cubicBezTo>
                    <a:pt x="3" y="17"/>
                    <a:pt x="3" y="14"/>
                    <a:pt x="3" y="11"/>
                  </a:cubicBezTo>
                  <a:cubicBezTo>
                    <a:pt x="3" y="10"/>
                    <a:pt x="3" y="9"/>
                    <a:pt x="3" y="9"/>
                  </a:cubicBezTo>
                  <a:cubicBezTo>
                    <a:pt x="0" y="7"/>
                    <a:pt x="1" y="5"/>
                    <a:pt x="3" y="3"/>
                  </a:cubicBezTo>
                  <a:cubicBezTo>
                    <a:pt x="4" y="2"/>
                    <a:pt x="6" y="0"/>
                    <a:pt x="7" y="0"/>
                  </a:cubicBezTo>
                  <a:cubicBezTo>
                    <a:pt x="9" y="1"/>
                    <a:pt x="11" y="2"/>
                    <a:pt x="11" y="5"/>
                  </a:cubicBezTo>
                  <a:cubicBezTo>
                    <a:pt x="11" y="12"/>
                    <a:pt x="11" y="20"/>
                    <a:pt x="11" y="27"/>
                  </a:cubicBezTo>
                  <a:cubicBezTo>
                    <a:pt x="11" y="29"/>
                    <a:pt x="12" y="30"/>
                    <a:pt x="12" y="31"/>
                  </a:cubicBezTo>
                  <a:cubicBezTo>
                    <a:pt x="13" y="33"/>
                    <a:pt x="15" y="34"/>
                    <a:pt x="14" y="35"/>
                  </a:cubicBezTo>
                  <a:cubicBezTo>
                    <a:pt x="13" y="37"/>
                    <a:pt x="12" y="39"/>
                    <a:pt x="10" y="40"/>
                  </a:cubicBezTo>
                  <a:cubicBezTo>
                    <a:pt x="8" y="41"/>
                    <a:pt x="5" y="39"/>
                    <a:pt x="4" y="36"/>
                  </a:cubicBezTo>
                  <a:cubicBezTo>
                    <a:pt x="4" y="30"/>
                    <a:pt x="4" y="25"/>
                    <a:pt x="3" y="19"/>
                  </a:cubicBezTo>
                  <a:cubicBezTo>
                    <a:pt x="3" y="20"/>
                    <a:pt x="3" y="20"/>
                    <a:pt x="3" y="20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91" name="Freeform 2064">
              <a:extLst>
                <a:ext uri="{FF2B5EF4-FFF2-40B4-BE49-F238E27FC236}">
                  <a16:creationId xmlns:a16="http://schemas.microsoft.com/office/drawing/2014/main" id="{7DCC7004-409A-4D35-A41C-E94BD36A323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0105" y="903289"/>
              <a:ext cx="12700" cy="39688"/>
            </a:xfrm>
            <a:custGeom>
              <a:avLst/>
              <a:gdLst>
                <a:gd name="T0" fmla="*/ 9 w 12"/>
                <a:gd name="T1" fmla="*/ 4 h 39"/>
                <a:gd name="T2" fmla="*/ 9 w 12"/>
                <a:gd name="T3" fmla="*/ 25 h 39"/>
                <a:gd name="T4" fmla="*/ 10 w 12"/>
                <a:gd name="T5" fmla="*/ 30 h 39"/>
                <a:gd name="T6" fmla="*/ 8 w 12"/>
                <a:gd name="T7" fmla="*/ 38 h 39"/>
                <a:gd name="T8" fmla="*/ 4 w 12"/>
                <a:gd name="T9" fmla="*/ 39 h 39"/>
                <a:gd name="T10" fmla="*/ 1 w 12"/>
                <a:gd name="T11" fmla="*/ 32 h 39"/>
                <a:gd name="T12" fmla="*/ 2 w 12"/>
                <a:gd name="T13" fmla="*/ 25 h 39"/>
                <a:gd name="T14" fmla="*/ 1 w 12"/>
                <a:gd name="T15" fmla="*/ 5 h 39"/>
                <a:gd name="T16" fmla="*/ 4 w 12"/>
                <a:gd name="T17" fmla="*/ 1 h 39"/>
                <a:gd name="T18" fmla="*/ 8 w 12"/>
                <a:gd name="T19" fmla="*/ 0 h 39"/>
                <a:gd name="T20" fmla="*/ 11 w 12"/>
                <a:gd name="T21" fmla="*/ 4 h 39"/>
                <a:gd name="T22" fmla="*/ 9 w 12"/>
                <a:gd name="T23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" h="39">
                  <a:moveTo>
                    <a:pt x="9" y="4"/>
                  </a:moveTo>
                  <a:cubicBezTo>
                    <a:pt x="9" y="11"/>
                    <a:pt x="10" y="18"/>
                    <a:pt x="9" y="25"/>
                  </a:cubicBezTo>
                  <a:cubicBezTo>
                    <a:pt x="9" y="27"/>
                    <a:pt x="9" y="29"/>
                    <a:pt x="10" y="30"/>
                  </a:cubicBezTo>
                  <a:cubicBezTo>
                    <a:pt x="12" y="33"/>
                    <a:pt x="10" y="36"/>
                    <a:pt x="8" y="38"/>
                  </a:cubicBezTo>
                  <a:cubicBezTo>
                    <a:pt x="8" y="39"/>
                    <a:pt x="5" y="39"/>
                    <a:pt x="4" y="39"/>
                  </a:cubicBezTo>
                  <a:cubicBezTo>
                    <a:pt x="2" y="37"/>
                    <a:pt x="0" y="36"/>
                    <a:pt x="1" y="32"/>
                  </a:cubicBezTo>
                  <a:cubicBezTo>
                    <a:pt x="2" y="30"/>
                    <a:pt x="2" y="27"/>
                    <a:pt x="2" y="25"/>
                  </a:cubicBezTo>
                  <a:cubicBezTo>
                    <a:pt x="1" y="18"/>
                    <a:pt x="1" y="12"/>
                    <a:pt x="1" y="5"/>
                  </a:cubicBezTo>
                  <a:cubicBezTo>
                    <a:pt x="1" y="4"/>
                    <a:pt x="3" y="2"/>
                    <a:pt x="4" y="1"/>
                  </a:cubicBezTo>
                  <a:cubicBezTo>
                    <a:pt x="5" y="0"/>
                    <a:pt x="7" y="0"/>
                    <a:pt x="8" y="0"/>
                  </a:cubicBezTo>
                  <a:cubicBezTo>
                    <a:pt x="10" y="1"/>
                    <a:pt x="10" y="3"/>
                    <a:pt x="11" y="4"/>
                  </a:cubicBezTo>
                  <a:cubicBezTo>
                    <a:pt x="10" y="4"/>
                    <a:pt x="10" y="4"/>
                    <a:pt x="9" y="4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92" name="Freeform 2065">
              <a:extLst>
                <a:ext uri="{FF2B5EF4-FFF2-40B4-BE49-F238E27FC236}">
                  <a16:creationId xmlns:a16="http://schemas.microsoft.com/office/drawing/2014/main" id="{AE5CB409-4961-47D4-B155-A9B5740FB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8180" y="933452"/>
              <a:ext cx="11113" cy="31750"/>
            </a:xfrm>
            <a:custGeom>
              <a:avLst/>
              <a:gdLst>
                <a:gd name="T0" fmla="*/ 10 w 11"/>
                <a:gd name="T1" fmla="*/ 17 h 32"/>
                <a:gd name="T2" fmla="*/ 10 w 11"/>
                <a:gd name="T3" fmla="*/ 27 h 32"/>
                <a:gd name="T4" fmla="*/ 8 w 11"/>
                <a:gd name="T5" fmla="*/ 32 h 32"/>
                <a:gd name="T6" fmla="*/ 4 w 11"/>
                <a:gd name="T7" fmla="*/ 28 h 32"/>
                <a:gd name="T8" fmla="*/ 1 w 11"/>
                <a:gd name="T9" fmla="*/ 7 h 32"/>
                <a:gd name="T10" fmla="*/ 2 w 11"/>
                <a:gd name="T11" fmla="*/ 2 h 32"/>
                <a:gd name="T12" fmla="*/ 7 w 11"/>
                <a:gd name="T13" fmla="*/ 1 h 32"/>
                <a:gd name="T14" fmla="*/ 10 w 11"/>
                <a:gd name="T15" fmla="*/ 4 h 32"/>
                <a:gd name="T16" fmla="*/ 10 w 11"/>
                <a:gd name="T17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32">
                  <a:moveTo>
                    <a:pt x="10" y="17"/>
                  </a:moveTo>
                  <a:cubicBezTo>
                    <a:pt x="10" y="20"/>
                    <a:pt x="11" y="24"/>
                    <a:pt x="10" y="27"/>
                  </a:cubicBezTo>
                  <a:cubicBezTo>
                    <a:pt x="10" y="28"/>
                    <a:pt x="9" y="30"/>
                    <a:pt x="8" y="32"/>
                  </a:cubicBezTo>
                  <a:cubicBezTo>
                    <a:pt x="7" y="30"/>
                    <a:pt x="5" y="29"/>
                    <a:pt x="4" y="28"/>
                  </a:cubicBezTo>
                  <a:cubicBezTo>
                    <a:pt x="3" y="21"/>
                    <a:pt x="2" y="14"/>
                    <a:pt x="1" y="7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4" y="1"/>
                    <a:pt x="6" y="0"/>
                    <a:pt x="7" y="1"/>
                  </a:cubicBezTo>
                  <a:cubicBezTo>
                    <a:pt x="8" y="1"/>
                    <a:pt x="9" y="3"/>
                    <a:pt x="10" y="4"/>
                  </a:cubicBezTo>
                  <a:cubicBezTo>
                    <a:pt x="10" y="8"/>
                    <a:pt x="10" y="13"/>
                    <a:pt x="10" y="17"/>
                  </a:cubicBezTo>
                  <a:close/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93" name="Freeform 2066">
              <a:extLst>
                <a:ext uri="{FF2B5EF4-FFF2-40B4-BE49-F238E27FC236}">
                  <a16:creationId xmlns:a16="http://schemas.microsoft.com/office/drawing/2014/main" id="{D2B200CC-8B42-4526-B149-43150E5980BC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3267" y="885827"/>
              <a:ext cx="14288" cy="36513"/>
            </a:xfrm>
            <a:custGeom>
              <a:avLst/>
              <a:gdLst>
                <a:gd name="T0" fmla="*/ 13 w 13"/>
                <a:gd name="T1" fmla="*/ 31 h 36"/>
                <a:gd name="T2" fmla="*/ 9 w 13"/>
                <a:gd name="T3" fmla="*/ 35 h 36"/>
                <a:gd name="T4" fmla="*/ 4 w 13"/>
                <a:gd name="T5" fmla="*/ 31 h 36"/>
                <a:gd name="T6" fmla="*/ 0 w 13"/>
                <a:gd name="T7" fmla="*/ 4 h 36"/>
                <a:gd name="T8" fmla="*/ 1 w 13"/>
                <a:gd name="T9" fmla="*/ 1 h 36"/>
                <a:gd name="T10" fmla="*/ 6 w 13"/>
                <a:gd name="T11" fmla="*/ 3 h 36"/>
                <a:gd name="T12" fmla="*/ 9 w 13"/>
                <a:gd name="T13" fmla="*/ 14 h 36"/>
                <a:gd name="T14" fmla="*/ 12 w 13"/>
                <a:gd name="T15" fmla="*/ 29 h 36"/>
                <a:gd name="T16" fmla="*/ 12 w 13"/>
                <a:gd name="T17" fmla="*/ 30 h 36"/>
                <a:gd name="T18" fmla="*/ 13 w 13"/>
                <a:gd name="T19" fmla="*/ 3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36">
                  <a:moveTo>
                    <a:pt x="13" y="31"/>
                  </a:moveTo>
                  <a:cubicBezTo>
                    <a:pt x="12" y="33"/>
                    <a:pt x="10" y="35"/>
                    <a:pt x="9" y="35"/>
                  </a:cubicBezTo>
                  <a:cubicBezTo>
                    <a:pt x="6" y="36"/>
                    <a:pt x="4" y="34"/>
                    <a:pt x="4" y="31"/>
                  </a:cubicBezTo>
                  <a:cubicBezTo>
                    <a:pt x="4" y="21"/>
                    <a:pt x="3" y="12"/>
                    <a:pt x="0" y="4"/>
                  </a:cubicBezTo>
                  <a:cubicBezTo>
                    <a:pt x="0" y="3"/>
                    <a:pt x="1" y="1"/>
                    <a:pt x="1" y="1"/>
                  </a:cubicBezTo>
                  <a:cubicBezTo>
                    <a:pt x="3" y="1"/>
                    <a:pt x="5" y="0"/>
                    <a:pt x="6" y="3"/>
                  </a:cubicBezTo>
                  <a:cubicBezTo>
                    <a:pt x="7" y="7"/>
                    <a:pt x="8" y="10"/>
                    <a:pt x="9" y="14"/>
                  </a:cubicBezTo>
                  <a:cubicBezTo>
                    <a:pt x="10" y="19"/>
                    <a:pt x="11" y="24"/>
                    <a:pt x="12" y="29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1"/>
                    <a:pt x="13" y="31"/>
                    <a:pt x="13" y="31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  <p:sp>
          <p:nvSpPr>
            <p:cNvPr id="94" name="Freeform 2067">
              <a:extLst>
                <a:ext uri="{FF2B5EF4-FFF2-40B4-BE49-F238E27FC236}">
                  <a16:creationId xmlns:a16="http://schemas.microsoft.com/office/drawing/2014/main" id="{F95B17E6-51E9-4885-A4A1-6AB791514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805" y="998539"/>
              <a:ext cx="9525" cy="33338"/>
            </a:xfrm>
            <a:custGeom>
              <a:avLst/>
              <a:gdLst>
                <a:gd name="T0" fmla="*/ 8 w 8"/>
                <a:gd name="T1" fmla="*/ 1 h 33"/>
                <a:gd name="T2" fmla="*/ 6 w 8"/>
                <a:gd name="T3" fmla="*/ 21 h 33"/>
                <a:gd name="T4" fmla="*/ 7 w 8"/>
                <a:gd name="T5" fmla="*/ 26 h 33"/>
                <a:gd name="T6" fmla="*/ 7 w 8"/>
                <a:gd name="T7" fmla="*/ 27 h 33"/>
                <a:gd name="T8" fmla="*/ 5 w 8"/>
                <a:gd name="T9" fmla="*/ 33 h 33"/>
                <a:gd name="T10" fmla="*/ 0 w 8"/>
                <a:gd name="T11" fmla="*/ 29 h 33"/>
                <a:gd name="T12" fmla="*/ 0 w 8"/>
                <a:gd name="T13" fmla="*/ 18 h 33"/>
                <a:gd name="T14" fmla="*/ 1 w 8"/>
                <a:gd name="T15" fmla="*/ 6 h 33"/>
                <a:gd name="T16" fmla="*/ 8 w 8"/>
                <a:gd name="T17" fmla="*/ 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33">
                  <a:moveTo>
                    <a:pt x="8" y="1"/>
                  </a:moveTo>
                  <a:cubicBezTo>
                    <a:pt x="7" y="8"/>
                    <a:pt x="7" y="14"/>
                    <a:pt x="6" y="21"/>
                  </a:cubicBezTo>
                  <a:cubicBezTo>
                    <a:pt x="6" y="23"/>
                    <a:pt x="6" y="25"/>
                    <a:pt x="7" y="2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6" y="29"/>
                    <a:pt x="6" y="31"/>
                    <a:pt x="5" y="33"/>
                  </a:cubicBezTo>
                  <a:cubicBezTo>
                    <a:pt x="4" y="32"/>
                    <a:pt x="1" y="31"/>
                    <a:pt x="0" y="29"/>
                  </a:cubicBezTo>
                  <a:cubicBezTo>
                    <a:pt x="0" y="26"/>
                    <a:pt x="0" y="22"/>
                    <a:pt x="0" y="18"/>
                  </a:cubicBezTo>
                  <a:cubicBezTo>
                    <a:pt x="0" y="14"/>
                    <a:pt x="1" y="10"/>
                    <a:pt x="1" y="6"/>
                  </a:cubicBezTo>
                  <a:cubicBezTo>
                    <a:pt x="1" y="2"/>
                    <a:pt x="3" y="0"/>
                    <a:pt x="8" y="1"/>
                  </a:cubicBezTo>
                </a:path>
              </a:pathLst>
            </a:custGeom>
            <a:grpFill/>
            <a:ln>
              <a:solidFill>
                <a:srgbClr val="F40009"/>
              </a:solidFill>
            </a:ln>
          </p:spPr>
          <p:txBody>
            <a:bodyPr/>
            <a:lstStyle/>
            <a:p>
              <a:pPr algn="ctr" defTabSz="548640" fontAlgn="base">
                <a:spcBef>
                  <a:spcPct val="20000"/>
                </a:spcBef>
                <a:spcAft>
                  <a:spcPct val="0"/>
                </a:spcAft>
                <a:defRPr/>
              </a:pPr>
              <a:endParaRPr lang="en-GB" sz="1440" kern="0" dirty="0">
                <a:solidFill>
                  <a:srgbClr val="002776"/>
                </a:solidFill>
                <a:latin typeface="Arial"/>
                <a:cs typeface="Arial" panose="020B0604020202020204" pitchFamily="34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10840862" y="3945503"/>
            <a:ext cx="1912164" cy="938825"/>
          </a:xfrm>
          <a:prstGeom prst="rect">
            <a:avLst/>
          </a:prstGeom>
        </p:spPr>
        <p:txBody>
          <a:bodyPr vert="horz" wrap="square" lIns="82296" tIns="41148" rIns="82296" bIns="41148" rtlCol="0">
            <a:normAutofit/>
          </a:bodyPr>
          <a:lstStyle/>
          <a:p>
            <a:pPr defTabSz="548640"/>
            <a:r>
              <a:rPr lang="en-GB" sz="1200" dirty="0">
                <a:solidFill>
                  <a:srgbClr val="000000"/>
                </a:solidFill>
                <a:latin typeface="Arial"/>
              </a:rPr>
              <a:t>Unified Planning and Financial Consolidation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10831108" y="4783515"/>
            <a:ext cx="2014307" cy="824251"/>
          </a:xfrm>
          <a:prstGeom prst="rect">
            <a:avLst/>
          </a:prstGeom>
        </p:spPr>
        <p:txBody>
          <a:bodyPr vert="horz" wrap="square" lIns="82296" tIns="41148" rIns="82296" bIns="41148" rtlCol="0">
            <a:noAutofit/>
          </a:bodyPr>
          <a:lstStyle/>
          <a:p>
            <a:pPr defTabSz="548640"/>
            <a:r>
              <a:rPr lang="en-GB" sz="1200" dirty="0">
                <a:solidFill>
                  <a:srgbClr val="000000"/>
                </a:solidFill>
                <a:latin typeface="Arial"/>
              </a:rPr>
              <a:t>Automate aggregation, allocations and other manual processes to remove manual effort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10857787" y="5842993"/>
            <a:ext cx="17183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48640"/>
            <a:r>
              <a:rPr lang="en-GB" sz="1200" dirty="0">
                <a:solidFill>
                  <a:srgbClr val="000000"/>
                </a:solidFill>
                <a:latin typeface="Arial"/>
              </a:rPr>
              <a:t>Structured workflow management to be more efficient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10849871" y="6774831"/>
            <a:ext cx="1825487" cy="904346"/>
          </a:xfrm>
          <a:prstGeom prst="rect">
            <a:avLst/>
          </a:prstGeom>
        </p:spPr>
        <p:txBody>
          <a:bodyPr vert="horz" wrap="square" lIns="82296" tIns="41148" rIns="82296" bIns="41148" rtlCol="0">
            <a:normAutofit/>
          </a:bodyPr>
          <a:lstStyle/>
          <a:p>
            <a:pPr defTabSz="548640"/>
            <a:r>
              <a:rPr lang="en-GB" sz="1200" kern="0" dirty="0">
                <a:solidFill>
                  <a:srgbClr val="000000"/>
                </a:solidFill>
                <a:latin typeface="Arial"/>
              </a:rPr>
              <a:t>Consistent way of working to better support of finance professionals</a:t>
            </a:r>
            <a:endParaRPr lang="en-GB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10843627" y="1608922"/>
            <a:ext cx="18644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48640"/>
            <a:r>
              <a:rPr lang="en-GB" sz="1200" dirty="0">
                <a:solidFill>
                  <a:srgbClr val="000000"/>
                </a:solidFill>
                <a:latin typeface="Arial"/>
              </a:rPr>
              <a:t>Greater internal control with fewer data sets to support standardisation</a:t>
            </a:r>
          </a:p>
        </p:txBody>
      </p:sp>
      <p:sp>
        <p:nvSpPr>
          <p:cNvPr id="107" name="Rectangle 106"/>
          <p:cNvSpPr/>
          <p:nvPr/>
        </p:nvSpPr>
        <p:spPr>
          <a:xfrm>
            <a:off x="10843627" y="2673903"/>
            <a:ext cx="18644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48640"/>
            <a:r>
              <a:rPr lang="en-GB" sz="1200" dirty="0">
                <a:solidFill>
                  <a:srgbClr val="000000"/>
                </a:solidFill>
                <a:latin typeface="Arial"/>
              </a:rPr>
              <a:t>Standardised and harmonised financial data models to simplify processes</a:t>
            </a:r>
          </a:p>
        </p:txBody>
      </p:sp>
      <p:grpSp>
        <p:nvGrpSpPr>
          <p:cNvPr id="129" name="Group 128"/>
          <p:cNvGrpSpPr/>
          <p:nvPr/>
        </p:nvGrpSpPr>
        <p:grpSpPr>
          <a:xfrm>
            <a:off x="1701139" y="2030067"/>
            <a:ext cx="8627106" cy="6316242"/>
            <a:chOff x="479525" y="2690403"/>
            <a:chExt cx="11319098" cy="5488296"/>
          </a:xfrm>
        </p:grpSpPr>
        <p:pic>
          <p:nvPicPr>
            <p:cNvPr id="115" name="Picture 13" descr="iStock_winding_road.jpg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834210" y="3759407"/>
              <a:ext cx="10242902" cy="30485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2" name="TextBox 101"/>
            <p:cNvSpPr txBox="1"/>
            <p:nvPr/>
          </p:nvSpPr>
          <p:spPr>
            <a:xfrm>
              <a:off x="5586557" y="4191709"/>
              <a:ext cx="1484845" cy="1632100"/>
            </a:xfrm>
            <a:prstGeom prst="rect">
              <a:avLst/>
            </a:prstGeom>
          </p:spPr>
          <p:txBody>
            <a:bodyPr vert="horz" wrap="square" lIns="82296" tIns="41148" rIns="82296" bIns="41148" rtlCol="0">
              <a:normAutofit/>
            </a:bodyPr>
            <a:lstStyle/>
            <a:p>
              <a:pPr defTabSz="548640"/>
              <a:endParaRPr lang="en-GB" sz="16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5" name="TextBox 104"/>
            <p:cNvSpPr txBox="1"/>
            <p:nvPr/>
          </p:nvSpPr>
          <p:spPr>
            <a:xfrm>
              <a:off x="479525" y="3964529"/>
              <a:ext cx="1998381" cy="1686560"/>
            </a:xfrm>
            <a:prstGeom prst="rect">
              <a:avLst/>
            </a:prstGeom>
          </p:spPr>
          <p:txBody>
            <a:bodyPr vert="horz" wrap="square" lIns="82296" tIns="41148" rIns="82296" bIns="41148" rtlCol="0">
              <a:normAutofit/>
            </a:bodyPr>
            <a:lstStyle/>
            <a:p>
              <a:pPr defTabSz="548640"/>
              <a:endParaRPr lang="en-GB" sz="162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8" name="Oval 107"/>
            <p:cNvSpPr/>
            <p:nvPr/>
          </p:nvSpPr>
          <p:spPr>
            <a:xfrm>
              <a:off x="1117137" y="3782649"/>
              <a:ext cx="2356353" cy="1157637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48640"/>
              <a:r>
                <a:rPr lang="en-GB" sz="1080" b="1" dirty="0">
                  <a:solidFill>
                    <a:srgbClr val="000000"/>
                  </a:solidFill>
                  <a:latin typeface="Arial"/>
                </a:rPr>
                <a:t>March 2019</a:t>
              </a:r>
            </a:p>
            <a:p>
              <a:pPr algn="ctr" defTabSz="548640"/>
              <a:r>
                <a:rPr lang="en-GB" sz="1080" dirty="0">
                  <a:solidFill>
                    <a:srgbClr val="000000"/>
                  </a:solidFill>
                  <a:latin typeface="Arial"/>
                </a:rPr>
                <a:t>Financial Consolidation: Process and functional design</a:t>
              </a:r>
            </a:p>
          </p:txBody>
        </p:sp>
        <p:sp>
          <p:nvSpPr>
            <p:cNvPr id="109" name="Oval 108"/>
            <p:cNvSpPr/>
            <p:nvPr/>
          </p:nvSpPr>
          <p:spPr>
            <a:xfrm>
              <a:off x="2720274" y="5705369"/>
              <a:ext cx="2506939" cy="1274230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48640"/>
              <a:r>
                <a:rPr lang="en-GB" sz="1080" b="1" dirty="0">
                  <a:solidFill>
                    <a:srgbClr val="000000"/>
                  </a:solidFill>
                  <a:latin typeface="Arial"/>
                </a:rPr>
                <a:t>May 2019 </a:t>
              </a:r>
            </a:p>
            <a:p>
              <a:pPr algn="ctr" defTabSz="548640"/>
              <a:r>
                <a:rPr lang="en-GB" sz="1080" dirty="0">
                  <a:solidFill>
                    <a:srgbClr val="000000"/>
                  </a:solidFill>
                  <a:latin typeface="Arial"/>
                </a:rPr>
                <a:t>Core Planning* &amp; Extended Planning**: Process and functional design</a:t>
              </a:r>
            </a:p>
          </p:txBody>
        </p:sp>
        <p:sp>
          <p:nvSpPr>
            <p:cNvPr id="110" name="Oval 109"/>
            <p:cNvSpPr/>
            <p:nvPr/>
          </p:nvSpPr>
          <p:spPr>
            <a:xfrm>
              <a:off x="3423855" y="3450705"/>
              <a:ext cx="2365888" cy="1221929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48640"/>
              <a:r>
                <a:rPr lang="en-GB" sz="1080" b="1" dirty="0">
                  <a:solidFill>
                    <a:srgbClr val="000000"/>
                  </a:solidFill>
                  <a:latin typeface="Arial"/>
                </a:rPr>
                <a:t>June 2019</a:t>
              </a:r>
            </a:p>
            <a:p>
              <a:pPr algn="ctr" defTabSz="548640"/>
              <a:r>
                <a:rPr lang="en-GB" sz="1080" dirty="0">
                  <a:solidFill>
                    <a:srgbClr val="000000"/>
                  </a:solidFill>
                  <a:latin typeface="Arial"/>
                </a:rPr>
                <a:t>Financial and  Management Reporting: Process and functional design</a:t>
              </a:r>
            </a:p>
          </p:txBody>
        </p:sp>
        <p:sp>
          <p:nvSpPr>
            <p:cNvPr id="111" name="Oval 110"/>
            <p:cNvSpPr/>
            <p:nvPr/>
          </p:nvSpPr>
          <p:spPr>
            <a:xfrm>
              <a:off x="8211324" y="2797709"/>
              <a:ext cx="2241642" cy="1114683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48640"/>
              <a:r>
                <a:rPr lang="en-GB" sz="1080" b="1" dirty="0">
                  <a:solidFill>
                    <a:srgbClr val="000000"/>
                  </a:solidFill>
                  <a:latin typeface="Arial"/>
                </a:rPr>
                <a:t>Jan 2021</a:t>
              </a:r>
            </a:p>
            <a:p>
              <a:pPr algn="ctr" defTabSz="548640"/>
              <a:r>
                <a:rPr lang="en-GB" sz="1080" dirty="0">
                  <a:solidFill>
                    <a:srgbClr val="000000"/>
                  </a:solidFill>
                  <a:latin typeface="Arial"/>
                </a:rPr>
                <a:t>Extended Planning** Supply Chain Finance): </a:t>
              </a:r>
            </a:p>
            <a:p>
              <a:pPr algn="ctr" defTabSz="548640"/>
              <a:r>
                <a:rPr lang="en-GB" sz="1080" u="sng" dirty="0">
                  <a:solidFill>
                    <a:srgbClr val="F40009"/>
                  </a:solidFill>
                  <a:latin typeface="Arial"/>
                </a:rPr>
                <a:t>Go-live</a:t>
              </a:r>
            </a:p>
          </p:txBody>
        </p:sp>
        <p:sp>
          <p:nvSpPr>
            <p:cNvPr id="112" name="Oval 111"/>
            <p:cNvSpPr/>
            <p:nvPr/>
          </p:nvSpPr>
          <p:spPr>
            <a:xfrm>
              <a:off x="5739732" y="3126512"/>
              <a:ext cx="2559151" cy="1258677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48640"/>
              <a:r>
                <a:rPr lang="en-GB" sz="1080" b="1" dirty="0">
                  <a:solidFill>
                    <a:srgbClr val="000000"/>
                  </a:solidFill>
                  <a:latin typeface="Arial"/>
                </a:rPr>
                <a:t>April 2020</a:t>
              </a:r>
            </a:p>
            <a:p>
              <a:pPr algn="ctr" defTabSz="548640"/>
              <a:r>
                <a:rPr lang="en-GB" sz="1080" dirty="0">
                  <a:solidFill>
                    <a:srgbClr val="000000"/>
                  </a:solidFill>
                  <a:latin typeface="Arial"/>
                </a:rPr>
                <a:t>Financial Consolidation and external reporting: </a:t>
              </a:r>
            </a:p>
            <a:p>
              <a:pPr algn="ctr" defTabSz="548640"/>
              <a:r>
                <a:rPr lang="en-GB" sz="1080" u="sng" dirty="0">
                  <a:solidFill>
                    <a:srgbClr val="F40009"/>
                  </a:solidFill>
                  <a:latin typeface="Arial"/>
                </a:rPr>
                <a:t>Go-live</a:t>
              </a:r>
            </a:p>
          </p:txBody>
        </p:sp>
        <p:sp>
          <p:nvSpPr>
            <p:cNvPr id="113" name="Oval 112"/>
            <p:cNvSpPr/>
            <p:nvPr/>
          </p:nvSpPr>
          <p:spPr>
            <a:xfrm>
              <a:off x="7618647" y="5032731"/>
              <a:ext cx="2295183" cy="1211245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48640"/>
              <a:r>
                <a:rPr lang="en-GB" sz="1080" b="1" dirty="0">
                  <a:solidFill>
                    <a:srgbClr val="000000"/>
                  </a:solidFill>
                  <a:latin typeface="Arial"/>
                </a:rPr>
                <a:t>June 2020</a:t>
              </a:r>
            </a:p>
            <a:p>
              <a:pPr algn="ctr" defTabSz="548640"/>
              <a:r>
                <a:rPr lang="en-GB" sz="1080" dirty="0">
                  <a:solidFill>
                    <a:srgbClr val="000000"/>
                  </a:solidFill>
                  <a:latin typeface="Arial"/>
                </a:rPr>
                <a:t>Core Planning*: </a:t>
              </a:r>
            </a:p>
            <a:p>
              <a:pPr algn="ctr" defTabSz="548640"/>
              <a:r>
                <a:rPr lang="en-GB" sz="1080" u="sng" dirty="0">
                  <a:solidFill>
                    <a:srgbClr val="F40009"/>
                  </a:solidFill>
                  <a:latin typeface="Arial"/>
                </a:rPr>
                <a:t>Go-live</a:t>
              </a:r>
            </a:p>
          </p:txBody>
        </p:sp>
        <p:sp>
          <p:nvSpPr>
            <p:cNvPr id="114" name="Oval 113"/>
            <p:cNvSpPr/>
            <p:nvPr/>
          </p:nvSpPr>
          <p:spPr>
            <a:xfrm>
              <a:off x="5241780" y="5315377"/>
              <a:ext cx="2376866" cy="1213725"/>
            </a:xfrm>
            <a:prstGeom prst="ellipse">
              <a:avLst/>
            </a:prstGeom>
            <a:solidFill>
              <a:srgbClr val="F2F2F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48640"/>
              <a:r>
                <a:rPr lang="en-GB" sz="1080" b="1" dirty="0">
                  <a:solidFill>
                    <a:srgbClr val="000000"/>
                  </a:solidFill>
                  <a:latin typeface="Arial"/>
                </a:rPr>
                <a:t>Jan 2020</a:t>
              </a:r>
            </a:p>
            <a:p>
              <a:pPr algn="ctr" defTabSz="548640"/>
              <a:r>
                <a:rPr lang="en-GB" sz="1080" dirty="0">
                  <a:solidFill>
                    <a:srgbClr val="000000"/>
                  </a:solidFill>
                  <a:latin typeface="Arial"/>
                </a:rPr>
                <a:t>Financial and  Management Reporting: </a:t>
              </a:r>
            </a:p>
            <a:p>
              <a:pPr algn="ctr" defTabSz="548640"/>
              <a:r>
                <a:rPr lang="en-GB" sz="1080" u="sng" dirty="0">
                  <a:solidFill>
                    <a:srgbClr val="F40009"/>
                  </a:solidFill>
                  <a:latin typeface="Arial"/>
                </a:rPr>
                <a:t>Go-live</a:t>
              </a:r>
            </a:p>
          </p:txBody>
        </p:sp>
        <p:sp>
          <p:nvSpPr>
            <p:cNvPr id="122" name="Rounded Rectangle 121"/>
            <p:cNvSpPr/>
            <p:nvPr/>
          </p:nvSpPr>
          <p:spPr bwMode="auto">
            <a:xfrm>
              <a:off x="1158555" y="5542104"/>
              <a:ext cx="219031" cy="1620952"/>
            </a:xfrm>
            <a:prstGeom prst="roundRect">
              <a:avLst/>
            </a:prstGeom>
            <a:gradFill flip="none" rotWithShape="1">
              <a:gsLst>
                <a:gs pos="0">
                  <a:srgbClr val="002776">
                    <a:tint val="66000"/>
                    <a:satMod val="160000"/>
                  </a:srgbClr>
                </a:gs>
                <a:gs pos="50000">
                  <a:srgbClr val="002776">
                    <a:tint val="44500"/>
                    <a:satMod val="160000"/>
                  </a:srgbClr>
                </a:gs>
                <a:gs pos="100000">
                  <a:srgbClr val="002776">
                    <a:tint val="23500"/>
                    <a:satMod val="160000"/>
                  </a:srgbClr>
                </a:gs>
              </a:gsLst>
              <a:lin ang="0" scaled="1"/>
              <a:tileRect/>
            </a:gradFill>
            <a:ln w="25400" cap="flat" cmpd="sng" algn="ctr">
              <a:noFill/>
              <a:prstDash val="solid"/>
            </a:ln>
            <a:effectLst>
              <a:outerShdw blurRad="40005" dist="20320" dir="5400000" algn="ctr" rotWithShape="0">
                <a:srgbClr val="000000">
                  <a:alpha val="38000"/>
                </a:srgbClr>
              </a:outerShdw>
            </a:effectLst>
          </p:spPr>
          <p:txBody>
            <a:bodyPr anchor="ctr"/>
            <a:lstStyle/>
            <a:p>
              <a:pPr algn="ctr" defTabSz="5140796" eaLnBrk="0" hangingPunct="0">
                <a:lnSpc>
                  <a:spcPts val="2641"/>
                </a:lnSpc>
                <a:defRPr/>
              </a:pPr>
              <a:endParaRPr lang="en-GB" sz="1440" kern="0" dirty="0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123" name="Pentagon 122"/>
            <p:cNvSpPr/>
            <p:nvPr/>
          </p:nvSpPr>
          <p:spPr>
            <a:xfrm>
              <a:off x="706968" y="4872940"/>
              <a:ext cx="1444785" cy="691477"/>
            </a:xfrm>
            <a:prstGeom prst="homePlate">
              <a:avLst>
                <a:gd name="adj" fmla="val 34767"/>
              </a:avLst>
            </a:prstGeom>
            <a:solidFill>
              <a:schemeClr val="accent4"/>
            </a:solidFill>
            <a:ln w="2857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anchor="ctr"/>
            <a:lstStyle/>
            <a:p>
              <a:pPr defTabSz="513384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960" b="1" kern="0" dirty="0">
                <a:solidFill>
                  <a:srgbClr val="FFFFFF"/>
                </a:solidFill>
                <a:latin typeface="Calibri" panose="020F0502020204030204"/>
                <a:cs typeface="Arial" pitchFamily="34" charset="0"/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871291" y="5046810"/>
              <a:ext cx="1314831" cy="2888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1097118">
                <a:defRPr/>
              </a:pPr>
              <a:r>
                <a:rPr lang="en-GB" sz="1080" b="1" dirty="0">
                  <a:solidFill>
                    <a:prstClr val="white"/>
                  </a:solidFill>
                  <a:latin typeface="Arial"/>
                </a:rPr>
                <a:t>CFIN &amp; BPC starts here</a:t>
              </a:r>
            </a:p>
          </p:txBody>
        </p:sp>
        <p:pic>
          <p:nvPicPr>
            <p:cNvPr id="126" name="Picture 125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214089" y="2690403"/>
              <a:ext cx="1584534" cy="1092247"/>
            </a:xfrm>
            <a:prstGeom prst="rect">
              <a:avLst/>
            </a:prstGeom>
          </p:spPr>
        </p:pic>
        <p:sp>
          <p:nvSpPr>
            <p:cNvPr id="127" name="TextBox 126"/>
            <p:cNvSpPr txBox="1"/>
            <p:nvPr/>
          </p:nvSpPr>
          <p:spPr>
            <a:xfrm>
              <a:off x="1394521" y="7476331"/>
              <a:ext cx="6085162" cy="702368"/>
            </a:xfrm>
            <a:prstGeom prst="rect">
              <a:avLst/>
            </a:prstGeom>
          </p:spPr>
          <p:txBody>
            <a:bodyPr vert="horz" wrap="none" lIns="82296" tIns="41148" rIns="82296" bIns="41148" rtlCol="0">
              <a:noAutofit/>
            </a:bodyPr>
            <a:lstStyle/>
            <a:p>
              <a:pPr defTabSz="548640"/>
              <a:endParaRPr lang="en-GB" sz="1080" i="1" dirty="0">
                <a:solidFill>
                  <a:srgbClr val="000000"/>
                </a:solidFill>
                <a:latin typeface="Arial"/>
              </a:endParaRPr>
            </a:p>
            <a:p>
              <a:pPr defTabSz="548640"/>
              <a:r>
                <a:rPr lang="en-GB" sz="946" i="1" dirty="0">
                  <a:solidFill>
                    <a:srgbClr val="000000"/>
                  </a:solidFill>
                  <a:latin typeface="Arial"/>
                </a:rPr>
                <a:t>Please note: *Core planning is planning related to Commercial business activities</a:t>
              </a:r>
            </a:p>
            <a:p>
              <a:pPr defTabSz="548640"/>
              <a:r>
                <a:rPr lang="en-GB" sz="946" i="1" dirty="0">
                  <a:solidFill>
                    <a:srgbClr val="000000"/>
                  </a:solidFill>
                  <a:latin typeface="Arial"/>
                </a:rPr>
                <a:t>**Extended planning is related to Supply Chain and Logistics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 rot="21082729">
              <a:off x="3390061" y="4916912"/>
              <a:ext cx="3704328" cy="2567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822940"/>
              <a:r>
                <a:rPr lang="en-GB" sz="1320" b="1" dirty="0">
                  <a:solidFill>
                    <a:prstClr val="white"/>
                  </a:solidFill>
                  <a:latin typeface="Arial"/>
                </a:rPr>
                <a:t>We have a long road ahead of us</a:t>
              </a:r>
            </a:p>
          </p:txBody>
        </p:sp>
      </p:grpSp>
      <p:sp>
        <p:nvSpPr>
          <p:cNvPr id="116" name="Isosceles Triangle 115"/>
          <p:cNvSpPr/>
          <p:nvPr/>
        </p:nvSpPr>
        <p:spPr>
          <a:xfrm>
            <a:off x="3323040" y="4761405"/>
            <a:ext cx="195007" cy="179015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0"/>
            <a:r>
              <a:rPr lang="en-GB" sz="900" b="1" dirty="0">
                <a:solidFill>
                  <a:prstClr val="white"/>
                </a:solidFill>
                <a:latin typeface="Calibri" panose="020F0502020204030204"/>
              </a:rPr>
              <a:t>1</a:t>
            </a:r>
          </a:p>
        </p:txBody>
      </p:sp>
      <p:sp>
        <p:nvSpPr>
          <p:cNvPr id="117" name="Isosceles Triangle 116"/>
          <p:cNvSpPr/>
          <p:nvPr/>
        </p:nvSpPr>
        <p:spPr>
          <a:xfrm>
            <a:off x="5240151" y="4360015"/>
            <a:ext cx="195007" cy="179015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0"/>
            <a:r>
              <a:rPr lang="en-GB" sz="900" b="1" dirty="0">
                <a:solidFill>
                  <a:prstClr val="white"/>
                </a:solidFill>
                <a:latin typeface="Calibri" panose="020F0502020204030204"/>
              </a:rPr>
              <a:t>3</a:t>
            </a:r>
          </a:p>
        </p:txBody>
      </p:sp>
      <p:sp>
        <p:nvSpPr>
          <p:cNvPr id="118" name="Isosceles Triangle 117"/>
          <p:cNvSpPr/>
          <p:nvPr/>
        </p:nvSpPr>
        <p:spPr>
          <a:xfrm>
            <a:off x="4215208" y="5059249"/>
            <a:ext cx="195007" cy="179015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0"/>
            <a:r>
              <a:rPr lang="en-GB" sz="900" b="1" dirty="0">
                <a:solidFill>
                  <a:prstClr val="white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119" name="Isosceles Triangle 118"/>
          <p:cNvSpPr/>
          <p:nvPr/>
        </p:nvSpPr>
        <p:spPr>
          <a:xfrm>
            <a:off x="6710333" y="4195015"/>
            <a:ext cx="195007" cy="179015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0"/>
            <a:r>
              <a:rPr lang="en-GB" sz="900" b="1" dirty="0">
                <a:solidFill>
                  <a:prstClr val="white"/>
                </a:solidFill>
                <a:latin typeface="Calibri" panose="020F0502020204030204"/>
              </a:rPr>
              <a:t>5</a:t>
            </a:r>
          </a:p>
        </p:txBody>
      </p:sp>
      <p:sp>
        <p:nvSpPr>
          <p:cNvPr id="120" name="Isosceles Triangle 119"/>
          <p:cNvSpPr/>
          <p:nvPr/>
        </p:nvSpPr>
        <p:spPr>
          <a:xfrm>
            <a:off x="6278285" y="4713472"/>
            <a:ext cx="195007" cy="179015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0"/>
            <a:r>
              <a:rPr lang="en-GB" sz="900" b="1" dirty="0">
                <a:solidFill>
                  <a:prstClr val="white"/>
                </a:solidFill>
                <a:latin typeface="Calibri" panose="020F0502020204030204"/>
              </a:rPr>
              <a:t>4</a:t>
            </a:r>
          </a:p>
        </p:txBody>
      </p:sp>
      <p:sp>
        <p:nvSpPr>
          <p:cNvPr id="121" name="Isosceles Triangle 120"/>
          <p:cNvSpPr/>
          <p:nvPr/>
        </p:nvSpPr>
        <p:spPr>
          <a:xfrm>
            <a:off x="8447411" y="3406895"/>
            <a:ext cx="195007" cy="179015"/>
          </a:xfrm>
          <a:prstGeom prst="triangle">
            <a:avLst/>
          </a:prstGeom>
          <a:solidFill>
            <a:schemeClr val="accent5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1097118"/>
            <a:r>
              <a:rPr lang="en-GB" sz="900" b="1" kern="0" dirty="0">
                <a:solidFill>
                  <a:prstClr val="white"/>
                </a:solidFill>
                <a:latin typeface="Arial"/>
              </a:rPr>
              <a:t>7</a:t>
            </a:r>
          </a:p>
        </p:txBody>
      </p:sp>
      <p:sp>
        <p:nvSpPr>
          <p:cNvPr id="131" name="Isosceles Triangle 130"/>
          <p:cNvSpPr/>
          <p:nvPr/>
        </p:nvSpPr>
        <p:spPr>
          <a:xfrm>
            <a:off x="7920067" y="4367834"/>
            <a:ext cx="195007" cy="179015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22940"/>
            <a:r>
              <a:rPr lang="en-GB" sz="900" b="1" dirty="0">
                <a:solidFill>
                  <a:prstClr val="white"/>
                </a:solidFill>
                <a:latin typeface="Calibri" panose="020F0502020204030204"/>
              </a:rPr>
              <a:t>6</a:t>
            </a:r>
          </a:p>
        </p:txBody>
      </p:sp>
      <p:sp>
        <p:nvSpPr>
          <p:cNvPr id="36" name="Oval 35"/>
          <p:cNvSpPr/>
          <p:nvPr/>
        </p:nvSpPr>
        <p:spPr>
          <a:xfrm>
            <a:off x="1784986" y="5492688"/>
            <a:ext cx="1135385" cy="777926"/>
          </a:xfrm>
          <a:prstGeom prst="ellipse">
            <a:avLst/>
          </a:prstGeom>
          <a:solidFill>
            <a:srgbClr val="EE000B"/>
          </a:solidFill>
          <a:ln>
            <a:solidFill>
              <a:srgbClr val="F2F2F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/>
            <a:r>
              <a:rPr lang="en-GB" sz="1080" b="1" kern="0" dirty="0">
                <a:solidFill>
                  <a:srgbClr val="FFFFFF"/>
                </a:solidFill>
                <a:latin typeface="Calibri" panose="020F0502020204030204"/>
                <a:cs typeface="Arial" pitchFamily="34" charset="0"/>
              </a:rPr>
              <a:t>Three legacy SAP ERPs</a:t>
            </a:r>
          </a:p>
        </p:txBody>
      </p:sp>
    </p:spTree>
    <p:extLst>
      <p:ext uri="{BB962C8B-B14F-4D97-AF65-F5344CB8AC3E}">
        <p14:creationId xmlns:p14="http://schemas.microsoft.com/office/powerpoint/2010/main" val="5173737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EB895A-AD61-48F2-9040-3B5531D53C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22960"/>
            <a:fld id="{43F496C9-0AD9-C24F-92EB-2D26D61C9EC0}" type="slidenum">
              <a:rPr lang="nl-NL">
                <a:solidFill>
                  <a:srgbClr val="FFFFFF"/>
                </a:solidFill>
                <a:latin typeface="Gill Sans MT" panose="020B0502020104020203"/>
              </a:rPr>
              <a:pPr defTabSz="822960"/>
              <a:t>16</a:t>
            </a:fld>
            <a:endParaRPr lang="nl-NL" dirty="0">
              <a:solidFill>
                <a:srgbClr val="FFFFFF"/>
              </a:solidFill>
              <a:latin typeface="Gill Sans MT" panose="020B0502020104020203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C30ED-2A98-420A-9269-754B3BC9C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0" y="3474720"/>
            <a:ext cx="5669280" cy="914400"/>
          </a:xfrm>
        </p:spPr>
        <p:txBody>
          <a:bodyPr>
            <a:normAutofit/>
          </a:bodyPr>
          <a:lstStyle/>
          <a:p>
            <a:r>
              <a:rPr lang="en-GB" sz="5280" dirty="0"/>
              <a:t>Great People</a:t>
            </a:r>
          </a:p>
        </p:txBody>
      </p:sp>
    </p:spTree>
    <p:extLst>
      <p:ext uri="{BB962C8B-B14F-4D97-AF65-F5344CB8AC3E}">
        <p14:creationId xmlns:p14="http://schemas.microsoft.com/office/powerpoint/2010/main" val="29896709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920240" y="365760"/>
            <a:ext cx="7772400" cy="1034414"/>
          </a:xfrm>
        </p:spPr>
        <p:txBody>
          <a:bodyPr/>
          <a:lstStyle/>
          <a:p>
            <a:r>
              <a:rPr lang="en-GB" dirty="0"/>
              <a:t>What is the future?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4630399" cy="82753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06200" y="4343400"/>
            <a:ext cx="3431126" cy="427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1838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307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307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828800" y="0"/>
            <a:ext cx="190500" cy="190500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548640">
              <a:spcBef>
                <a:spcPct val="0"/>
              </a:spcBef>
              <a:spcAft>
                <a:spcPct val="0"/>
              </a:spcAft>
            </a:pPr>
            <a:endParaRPr lang="en-GB" sz="3000" dirty="0">
              <a:solidFill>
                <a:srgbClr val="000000"/>
              </a:solidFill>
              <a:latin typeface="Gill Sans MT" panose="020B0502020104020203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47816"/>
            <a:ext cx="9738439" cy="660858"/>
          </a:xfrm>
        </p:spPr>
        <p:txBody>
          <a:bodyPr>
            <a:normAutofit fontScale="90000"/>
          </a:bodyPr>
          <a:lstStyle/>
          <a:p>
            <a:r>
              <a:rPr lang="en-GB" sz="4000" dirty="0">
                <a:latin typeface="Arial" panose="020B0604020202020204" pitchFamily="34" charset="0"/>
                <a:cs typeface="Arial" panose="020B0604020202020204" pitchFamily="34" charset="0"/>
              </a:rPr>
              <a:t>Diversity &amp; Inclusion Action Plan </a:t>
            </a:r>
            <a:br>
              <a:rPr lang="en-GB" sz="336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2015568" y="1375495"/>
            <a:ext cx="10570618" cy="1270341"/>
            <a:chOff x="330660" y="1341125"/>
            <a:chExt cx="3924992" cy="1620000"/>
          </a:xfrm>
          <a:solidFill>
            <a:schemeClr val="bg1"/>
          </a:solidFill>
        </p:grpSpPr>
        <p:sp>
          <p:nvSpPr>
            <p:cNvPr id="49" name="Rounded Rectangle 48">
              <a:extLst>
                <a:ext uri="{FF2B5EF4-FFF2-40B4-BE49-F238E27FC236}">
                  <a16:creationId xmlns:a16="http://schemas.microsoft.com/office/drawing/2014/main" id="{CB87C20A-B66D-6D47-B13F-CE92300D1E96}"/>
                </a:ext>
              </a:extLst>
            </p:cNvPr>
            <p:cNvSpPr/>
            <p:nvPr/>
          </p:nvSpPr>
          <p:spPr>
            <a:xfrm>
              <a:off x="330660" y="1341125"/>
              <a:ext cx="3924992" cy="1620000"/>
            </a:xfrm>
            <a:prstGeom prst="roundRect">
              <a:avLst>
                <a:gd name="adj" fmla="val 4407"/>
              </a:avLst>
            </a:prstGeom>
            <a:grpFill/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548640">
                <a:defRPr/>
              </a:pPr>
              <a:endParaRPr lang="en-GB" sz="1320" kern="0" dirty="0">
                <a:solidFill>
                  <a:srgbClr val="000000"/>
                </a:solidFill>
                <a:latin typeface="Gill Sans MT" panose="020B0502020104020203"/>
              </a:endParaRPr>
            </a:p>
          </p:txBody>
        </p:sp>
        <p:sp>
          <p:nvSpPr>
            <p:cNvPr id="50" name="Content Placeholder 4">
              <a:extLst>
                <a:ext uri="{FF2B5EF4-FFF2-40B4-BE49-F238E27FC236}">
                  <a16:creationId xmlns:a16="http://schemas.microsoft.com/office/drawing/2014/main" id="{B77ACA0F-E903-0049-9458-DCB4884AF679}"/>
                </a:ext>
              </a:extLst>
            </p:cNvPr>
            <p:cNvSpPr txBox="1">
              <a:spLocks/>
            </p:cNvSpPr>
            <p:nvPr/>
          </p:nvSpPr>
          <p:spPr>
            <a:xfrm>
              <a:off x="1088399" y="2079576"/>
              <a:ext cx="2502621" cy="827796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57630" tIns="28816" rIns="57630" bIns="28816">
              <a:spAutoFit/>
            </a:bodyPr>
            <a:lstStyle>
              <a:lvl1pPr marL="342900" indent="-3429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ＭＳ Ｐゴシック" charset="0"/>
                </a:defRPr>
              </a:lvl1pPr>
              <a:lvl2pPr marL="742950" indent="-28575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2pPr>
              <a:lvl3pPr marL="11430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3pPr>
              <a:lvl4pPr marL="16002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4pPr>
              <a:lvl5pPr marL="20574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548640">
                <a:buNone/>
                <a:defRPr/>
              </a:pPr>
              <a:r>
                <a:rPr lang="en-GB" sz="1920" i="1" dirty="0">
                  <a:solidFill>
                    <a:srgbClr val="E1202C">
                      <a:lumMod val="85000"/>
                      <a:lumOff val="15000"/>
                    </a:srgbClr>
                  </a:solidFill>
                  <a:latin typeface="Gill Sans MT" panose="020B0502020104020203"/>
                  <a:cs typeface="Arial" panose="020B0604020202020204" pitchFamily="34" charset="0"/>
                </a:rPr>
                <a:t>Create a balanced environment where everyone is enabled to be their best self, being themselves</a:t>
              </a:r>
            </a:p>
          </p:txBody>
        </p:sp>
        <p:sp>
          <p:nvSpPr>
            <p:cNvPr id="51" name="Content Placeholder 4">
              <a:extLst>
                <a:ext uri="{FF2B5EF4-FFF2-40B4-BE49-F238E27FC236}">
                  <a16:creationId xmlns:a16="http://schemas.microsoft.com/office/drawing/2014/main" id="{4410FDF6-A02F-1D44-AA93-84A0D373E4F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382532" y="1397071"/>
              <a:ext cx="3802314" cy="57231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57630" tIns="57630" rIns="57630" bIns="57630" anchor="ctr" anchorCtr="0">
              <a:spAutoFit/>
            </a:bodyPr>
            <a:lstStyle>
              <a:lvl1pPr marL="342900" indent="-3429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ＭＳ Ｐゴシック" charset="0"/>
                </a:defRPr>
              </a:lvl1pPr>
              <a:lvl2pPr marL="742950" indent="-28575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2pPr>
              <a:lvl3pPr marL="11430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3pPr>
              <a:lvl4pPr marL="16002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4pPr>
              <a:lvl5pPr marL="20574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ＭＳ Ｐゴシック" charset="0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548640">
                <a:buNone/>
                <a:defRPr/>
              </a:pPr>
              <a:r>
                <a:rPr lang="en-GB" sz="2160" b="1" dirty="0">
                  <a:solidFill>
                    <a:srgbClr val="E1202C">
                      <a:lumMod val="85000"/>
                      <a:lumOff val="15000"/>
                    </a:srgbClr>
                  </a:solidFill>
                  <a:latin typeface="Gill Sans MT" panose="020B0502020104020203"/>
                  <a:cs typeface="Arial" panose="020B0604020202020204" pitchFamily="34" charset="0"/>
                </a:rPr>
                <a:t>OUR MISSION</a:t>
              </a: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02A0703A-21DC-AC4A-87D2-5A690FCAB507}"/>
                </a:ext>
              </a:extLst>
            </p:cNvPr>
            <p:cNvCxnSpPr>
              <a:cxnSpLocks/>
            </p:cNvCxnSpPr>
            <p:nvPr/>
          </p:nvCxnSpPr>
          <p:spPr>
            <a:xfrm>
              <a:off x="1024230" y="1969381"/>
              <a:ext cx="2630960" cy="2"/>
            </a:xfrm>
            <a:prstGeom prst="line">
              <a:avLst/>
            </a:prstGeom>
            <a:grpFill/>
            <a:ln w="1905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</p:cxnSp>
      </p:grp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8907E440-8CEE-004F-95B2-5895FF29D5BF}"/>
              </a:ext>
            </a:extLst>
          </p:cNvPr>
          <p:cNvSpPr txBox="1">
            <a:spLocks/>
          </p:cNvSpPr>
          <p:nvPr/>
        </p:nvSpPr>
        <p:spPr>
          <a:xfrm>
            <a:off x="2834081" y="1374562"/>
            <a:ext cx="6329218" cy="409468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b="1" kern="1200">
                <a:solidFill>
                  <a:srgbClr val="EE000B"/>
                </a:solidFill>
                <a:latin typeface="Arial"/>
                <a:ea typeface="ＭＳ Ｐゴシック" charset="0"/>
                <a:cs typeface="Arial"/>
              </a:defRPr>
            </a:lvl1pPr>
            <a:lvl2pPr marL="742950" indent="-2857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1143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600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48640">
              <a:defRPr/>
            </a:pPr>
            <a:endParaRPr lang="en-GB" sz="1601" dirty="0"/>
          </a:p>
        </p:txBody>
      </p:sp>
      <p:grpSp>
        <p:nvGrpSpPr>
          <p:cNvPr id="7" name="Group 6"/>
          <p:cNvGrpSpPr/>
          <p:nvPr/>
        </p:nvGrpSpPr>
        <p:grpSpPr>
          <a:xfrm>
            <a:off x="1904515" y="2905065"/>
            <a:ext cx="4978637" cy="1086699"/>
            <a:chOff x="4922373" y="3903452"/>
            <a:chExt cx="3790661" cy="905583"/>
          </a:xfrm>
        </p:grpSpPr>
        <p:sp>
          <p:nvSpPr>
            <p:cNvPr id="83" name="Rectangle 82"/>
            <p:cNvSpPr/>
            <p:nvPr/>
          </p:nvSpPr>
          <p:spPr>
            <a:xfrm>
              <a:off x="5763334" y="3903452"/>
              <a:ext cx="2949700" cy="684000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1097254"/>
              <a:r>
                <a:rPr lang="en-GB" sz="1920" b="1" kern="0" dirty="0">
                  <a:solidFill>
                    <a:srgbClr val="FF0000"/>
                  </a:solidFill>
                  <a:latin typeface="Gotham Bold" panose="02000604030000020004"/>
                  <a:ea typeface="Century Gothic" charset="0"/>
                  <a:cs typeface="Arial" panose="020B0604020202020204" pitchFamily="34" charset="0"/>
                  <a:sym typeface="Calibri"/>
                </a:rPr>
                <a:t>LEADERSHIP HACKS </a:t>
              </a: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5763334" y="4214131"/>
              <a:ext cx="2949700" cy="58477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05740" indent="-205740" algn="just" defTabSz="548640">
                <a:buFont typeface="Arial" panose="020B0604020202020204" pitchFamily="34" charset="0"/>
                <a:buChar char="•"/>
              </a:pPr>
              <a:r>
                <a:rPr lang="en-GB" sz="1320" i="1" dirty="0">
                  <a:solidFill>
                    <a:srgbClr val="000000"/>
                  </a:solidFill>
                  <a:latin typeface="Gill Sans MT" panose="020B0502020104020203"/>
                </a:rPr>
                <a:t>Provide our extended Finance Leadership team with simple and effective inclusion hacks to drive awareness and improve inclusivity throughout Finance </a:t>
              </a:r>
            </a:p>
          </p:txBody>
        </p:sp>
        <p:pic>
          <p:nvPicPr>
            <p:cNvPr id="93" name="Picture 9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922373" y="4036197"/>
              <a:ext cx="794187" cy="772838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4290864" y="4406343"/>
            <a:ext cx="5801440" cy="1570949"/>
            <a:chOff x="4960353" y="5152273"/>
            <a:chExt cx="4200973" cy="1309124"/>
          </a:xfrm>
        </p:grpSpPr>
        <p:sp>
          <p:nvSpPr>
            <p:cNvPr id="86" name="Rectangle 85"/>
            <p:cNvSpPr/>
            <p:nvPr/>
          </p:nvSpPr>
          <p:spPr>
            <a:xfrm>
              <a:off x="5613478" y="5152273"/>
              <a:ext cx="3547848" cy="684000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1097254"/>
              <a:r>
                <a:rPr lang="en-GB" sz="1920" b="1" kern="0" dirty="0">
                  <a:solidFill>
                    <a:srgbClr val="FF0000"/>
                  </a:solidFill>
                  <a:latin typeface="Gotham Bold" panose="02000604030000020004"/>
                  <a:ea typeface="Century Gothic" charset="0"/>
                  <a:cs typeface="Arial" panose="020B0604020202020204" pitchFamily="34" charset="0"/>
                  <a:sym typeface="Calibri"/>
                </a:rPr>
                <a:t>D&amp;I AMBASSADORS </a:t>
              </a:r>
            </a:p>
          </p:txBody>
        </p:sp>
        <p:sp>
          <p:nvSpPr>
            <p:cNvPr id="87" name="Rectangle 86"/>
            <p:cNvSpPr/>
            <p:nvPr/>
          </p:nvSpPr>
          <p:spPr>
            <a:xfrm>
              <a:off x="5810228" y="5452574"/>
              <a:ext cx="3208601" cy="10088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05740" indent="-205740" algn="just" defTabSz="548640">
                <a:spcAft>
                  <a:spcPts val="360"/>
                </a:spcAft>
                <a:buFont typeface="Arial" panose="020B0604020202020204" pitchFamily="34" charset="0"/>
                <a:buChar char="•"/>
              </a:pPr>
              <a:r>
                <a:rPr lang="en-GB" sz="1320" i="1" dirty="0">
                  <a:solidFill>
                    <a:srgbClr val="000000"/>
                  </a:solidFill>
                  <a:latin typeface="Gill Sans MT" panose="020B0502020104020203"/>
                </a:rPr>
                <a:t>Create a network group across our Global finance teams to share best practice, align approach and build consistency </a:t>
              </a:r>
            </a:p>
            <a:p>
              <a:pPr marL="205740" indent="-205740" algn="just" defTabSz="548640">
                <a:spcAft>
                  <a:spcPts val="360"/>
                </a:spcAft>
                <a:buFont typeface="Arial" panose="020B0604020202020204" pitchFamily="34" charset="0"/>
                <a:buChar char="•"/>
              </a:pPr>
              <a:r>
                <a:rPr lang="en-GB" sz="1320" i="1" dirty="0">
                  <a:solidFill>
                    <a:srgbClr val="000000"/>
                  </a:solidFill>
                  <a:latin typeface="Gill Sans MT" panose="020B0502020104020203"/>
                </a:rPr>
                <a:t>Continue to use the engagement surveys to identify gaps, and build actions </a:t>
              </a:r>
            </a:p>
            <a:p>
              <a:pPr algn="ctr" defTabSz="548640">
                <a:spcAft>
                  <a:spcPts val="360"/>
                </a:spcAft>
              </a:pPr>
              <a:endParaRPr lang="en-GB" sz="1320" i="1" dirty="0">
                <a:solidFill>
                  <a:srgbClr val="000000"/>
                </a:solidFill>
                <a:latin typeface="Gill Sans MT" panose="020B0502020104020203"/>
              </a:endParaRPr>
            </a:p>
          </p:txBody>
        </p:sp>
        <p:pic>
          <p:nvPicPr>
            <p:cNvPr id="95" name="Picture 94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960353" y="5231742"/>
              <a:ext cx="819794" cy="689925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2044215" y="6226950"/>
            <a:ext cx="4838936" cy="1277678"/>
            <a:chOff x="371932" y="5288973"/>
            <a:chExt cx="3936546" cy="1064732"/>
          </a:xfrm>
        </p:grpSpPr>
        <p:sp>
          <p:nvSpPr>
            <p:cNvPr id="91" name="Rectangle 90"/>
            <p:cNvSpPr/>
            <p:nvPr/>
          </p:nvSpPr>
          <p:spPr>
            <a:xfrm>
              <a:off x="1068618" y="5288973"/>
              <a:ext cx="3095845" cy="433463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1097254"/>
              <a:r>
                <a:rPr lang="en-GB" sz="1920" b="1" kern="0" dirty="0">
                  <a:solidFill>
                    <a:srgbClr val="FF0000"/>
                  </a:solidFill>
                  <a:latin typeface="Gotham Bold" panose="02000604030000020004"/>
                  <a:ea typeface="Century Gothic" charset="0"/>
                  <a:cs typeface="Arial" panose="020B0604020202020204" pitchFamily="34" charset="0"/>
                  <a:sym typeface="Calibri"/>
                </a:rPr>
                <a:t>INTERNAL DEVELOPMENT </a:t>
              </a: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1156823" y="5599652"/>
              <a:ext cx="3151655" cy="7540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05740" indent="-205740" algn="just" defTabSz="548640" fontAlgn="base">
                <a:spcAft>
                  <a:spcPts val="360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320" i="1" dirty="0">
                  <a:solidFill>
                    <a:srgbClr val="000000"/>
                  </a:solidFill>
                  <a:latin typeface="Gill Sans MT" panose="020B0502020104020203"/>
                </a:rPr>
                <a:t>Promote BU community team events to support Finance employees to build their knowledge, experience, and explore career opportunities within a different country or team </a:t>
              </a:r>
            </a:p>
          </p:txBody>
        </p:sp>
        <p:pic>
          <p:nvPicPr>
            <p:cNvPr id="96" name="Picture 95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1932" y="5408088"/>
              <a:ext cx="735086" cy="811657"/>
            </a:xfrm>
            <a:prstGeom prst="rect">
              <a:avLst/>
            </a:prstGeom>
          </p:spPr>
        </p:pic>
      </p:grpSp>
      <p:grpSp>
        <p:nvGrpSpPr>
          <p:cNvPr id="5" name="Group 4"/>
          <p:cNvGrpSpPr/>
          <p:nvPr/>
        </p:nvGrpSpPr>
        <p:grpSpPr>
          <a:xfrm>
            <a:off x="7488019" y="2776307"/>
            <a:ext cx="5140670" cy="1267936"/>
            <a:chOff x="363245" y="3395903"/>
            <a:chExt cx="3851844" cy="1056613"/>
          </a:xfrm>
        </p:grpSpPr>
        <p:sp>
          <p:nvSpPr>
            <p:cNvPr id="88" name="Rectangle 87"/>
            <p:cNvSpPr/>
            <p:nvPr/>
          </p:nvSpPr>
          <p:spPr>
            <a:xfrm>
              <a:off x="975089" y="3395903"/>
              <a:ext cx="3240000" cy="684000"/>
            </a:xfrm>
            <a:prstGeom prst="rect">
              <a:avLst/>
            </a:prstGeom>
          </p:spPr>
          <p:txBody>
            <a:bodyPr wrap="none">
              <a:noAutofit/>
            </a:bodyPr>
            <a:lstStyle/>
            <a:p>
              <a:pPr algn="ctr" defTabSz="1097254"/>
              <a:r>
                <a:rPr lang="en-GB" sz="1920" b="1" kern="0" dirty="0">
                  <a:solidFill>
                    <a:srgbClr val="FF0000"/>
                  </a:solidFill>
                  <a:latin typeface="Gotham Bold" panose="02000604030000020004"/>
                  <a:ea typeface="Century Gothic" charset="0"/>
                  <a:cs typeface="Arial" panose="020B0604020202020204" pitchFamily="34" charset="0"/>
                  <a:sym typeface="Calibri"/>
                </a:rPr>
                <a:t>FLT VISIBILITY  </a:t>
              </a:r>
            </a:p>
          </p:txBody>
        </p:sp>
        <p:sp>
          <p:nvSpPr>
            <p:cNvPr id="89" name="PLANTEAMIENTO GENERAL"/>
            <p:cNvSpPr/>
            <p:nvPr/>
          </p:nvSpPr>
          <p:spPr>
            <a:xfrm>
              <a:off x="1138374" y="3716947"/>
              <a:ext cx="3076715" cy="7018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3200" tIns="54863" rIns="43200" bIns="54863" numCol="1" anchor="t">
              <a:noAutofit/>
            </a:bodyPr>
            <a:lstStyle/>
            <a:p>
              <a:pPr marL="205740" indent="-205740" algn="just" defTabSz="548640">
                <a:spcAft>
                  <a:spcPts val="360"/>
                </a:spcAft>
                <a:buFont typeface="Arial" panose="020B0604020202020204" pitchFamily="34" charset="0"/>
                <a:buChar char="•"/>
              </a:pPr>
              <a:r>
                <a:rPr lang="en-GB" sz="1320" i="1" dirty="0">
                  <a:solidFill>
                    <a:srgbClr val="000000"/>
                  </a:solidFill>
                  <a:latin typeface="Gill Sans MT" panose="020B0502020104020203"/>
                </a:rPr>
                <a:t>Raise awareness of key talent with the FLT</a:t>
              </a:r>
            </a:p>
            <a:p>
              <a:pPr marL="205740" indent="-205740" algn="just" defTabSz="548640">
                <a:spcAft>
                  <a:spcPts val="360"/>
                </a:spcAft>
                <a:buFont typeface="Arial" panose="020B0604020202020204" pitchFamily="34" charset="0"/>
                <a:buChar char="•"/>
              </a:pPr>
              <a:r>
                <a:rPr lang="en-GB" sz="1320" i="1" dirty="0">
                  <a:solidFill>
                    <a:srgbClr val="000000"/>
                  </a:solidFill>
                  <a:latin typeface="Gill Sans MT" panose="020B0502020104020203"/>
                </a:rPr>
                <a:t>FLT New Hire monthly agenda topic to engage new hires with the leadership team</a:t>
              </a:r>
            </a:p>
            <a:p>
              <a:pPr marL="205740" indent="-205740" algn="just" defTabSz="548640">
                <a:spcAft>
                  <a:spcPts val="360"/>
                </a:spcAft>
                <a:buFont typeface="Arial" panose="020B0604020202020204" pitchFamily="34" charset="0"/>
                <a:buChar char="•"/>
              </a:pPr>
              <a:r>
                <a:rPr lang="en-GB" sz="1320" i="1" dirty="0">
                  <a:solidFill>
                    <a:srgbClr val="000000"/>
                  </a:solidFill>
                  <a:latin typeface="Gill Sans MT" panose="020B0502020104020203"/>
                </a:rPr>
                <a:t>Develop shadow FLT to experience key leadership areas</a:t>
              </a:r>
            </a:p>
            <a:p>
              <a:pPr algn="ctr" defTabSz="548640">
                <a:spcAft>
                  <a:spcPts val="360"/>
                </a:spcAft>
              </a:pPr>
              <a:endParaRPr lang="en-GB" sz="1320" b="1" kern="0" dirty="0">
                <a:solidFill>
                  <a:sysClr val="windowText" lastClr="000000"/>
                </a:solidFill>
                <a:latin typeface="Gill Sans MT" panose="020B0502020104020203"/>
              </a:endParaRPr>
            </a:p>
            <a:p>
              <a:pPr algn="ctr" defTabSz="548640"/>
              <a:endParaRPr lang="en-GB" sz="1320" b="1" kern="0" dirty="0">
                <a:solidFill>
                  <a:sysClr val="windowText" lastClr="000000"/>
                </a:solidFill>
                <a:latin typeface="Gill Sans MT" panose="020B0502020104020203"/>
              </a:endParaRPr>
            </a:p>
            <a:p>
              <a:pPr algn="ctr" defTabSz="548640"/>
              <a:endParaRPr lang="en-GB" sz="1320" b="1" kern="0" dirty="0">
                <a:solidFill>
                  <a:sysClr val="windowText" lastClr="000000"/>
                </a:solidFill>
                <a:latin typeface="Gill Sans MT" panose="020B0502020104020203"/>
              </a:endParaRPr>
            </a:p>
            <a:p>
              <a:pPr marL="316230" lvl="2" indent="-209550" algn="ctr" defTabSz="548640">
                <a:spcAft>
                  <a:spcPts val="1440"/>
                </a:spcAft>
                <a:buClr>
                  <a:srgbClr val="FF0000"/>
                </a:buClr>
                <a:buFont typeface="Arial" pitchFamily="34" charset="0"/>
                <a:buChar char="•"/>
                <a:defRPr/>
              </a:pPr>
              <a:endParaRPr lang="en-GB" sz="1320" b="1" kern="0" dirty="0">
                <a:solidFill>
                  <a:sysClr val="windowText" lastClr="000000"/>
                </a:solidFill>
                <a:latin typeface="Gill Sans MT" panose="020B0502020104020203"/>
              </a:endParaRPr>
            </a:p>
            <a:p>
              <a:pPr marL="316230" lvl="2" indent="-209550" algn="ctr" defTabSz="548640">
                <a:spcAft>
                  <a:spcPts val="1440"/>
                </a:spcAft>
                <a:buClr>
                  <a:srgbClr val="FF0000"/>
                </a:buClr>
                <a:buFont typeface="Arial" pitchFamily="34" charset="0"/>
                <a:buChar char="•"/>
                <a:defRPr/>
              </a:pPr>
              <a:endParaRPr lang="en-GB" sz="1320" kern="0" dirty="0">
                <a:solidFill>
                  <a:sysClr val="windowText" lastClr="000000"/>
                </a:solidFill>
                <a:latin typeface="Gill Sans MT" panose="020B0502020104020203"/>
              </a:endParaRPr>
            </a:p>
            <a:p>
              <a:pPr marL="316230" lvl="2" indent="-209550" algn="ctr" defTabSz="548640">
                <a:spcAft>
                  <a:spcPts val="1440"/>
                </a:spcAft>
                <a:buClr>
                  <a:srgbClr val="FF0000"/>
                </a:buClr>
                <a:buFont typeface="Arial" pitchFamily="34" charset="0"/>
                <a:buChar char="•"/>
                <a:defRPr/>
              </a:pPr>
              <a:endParaRPr lang="en-GB" sz="1320" kern="0" dirty="0">
                <a:solidFill>
                  <a:sysClr val="windowText" lastClr="000000"/>
                </a:solidFill>
                <a:latin typeface="Gill Sans MT" panose="020B0502020104020203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63245" y="3675417"/>
              <a:ext cx="903295" cy="777099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7747248" y="6226950"/>
            <a:ext cx="4727884" cy="1300581"/>
            <a:chOff x="5512582" y="5301208"/>
            <a:chExt cx="3631418" cy="1083818"/>
          </a:xfrm>
        </p:grpSpPr>
        <p:grpSp>
          <p:nvGrpSpPr>
            <p:cNvPr id="32" name="Group 31"/>
            <p:cNvGrpSpPr/>
            <p:nvPr/>
          </p:nvGrpSpPr>
          <p:grpSpPr>
            <a:xfrm>
              <a:off x="5596152" y="5301208"/>
              <a:ext cx="3547848" cy="1083818"/>
              <a:chOff x="5613478" y="5121069"/>
              <a:chExt cx="3547848" cy="1083818"/>
            </a:xfrm>
          </p:grpSpPr>
          <p:sp>
            <p:nvSpPr>
              <p:cNvPr id="33" name="Rectangle 32"/>
              <p:cNvSpPr/>
              <p:nvPr/>
            </p:nvSpPr>
            <p:spPr>
              <a:xfrm>
                <a:off x="5613478" y="5121069"/>
                <a:ext cx="3547848" cy="684000"/>
              </a:xfrm>
              <a:prstGeom prst="rect">
                <a:avLst/>
              </a:prstGeom>
            </p:spPr>
            <p:txBody>
              <a:bodyPr wrap="none">
                <a:noAutofit/>
              </a:bodyPr>
              <a:lstStyle/>
              <a:p>
                <a:pPr algn="ctr" defTabSz="1097254"/>
                <a:r>
                  <a:rPr lang="en-GB" sz="1920" b="1" kern="0" dirty="0">
                    <a:solidFill>
                      <a:srgbClr val="FF0000"/>
                    </a:solidFill>
                    <a:latin typeface="Gotham Bold" panose="02000604030000020004"/>
                    <a:ea typeface="Century Gothic" charset="0"/>
                    <a:cs typeface="Arial" panose="020B0604020202020204" pitchFamily="34" charset="0"/>
                    <a:sym typeface="Calibri"/>
                  </a:rPr>
                  <a:t>DIVERSITY </a:t>
                </a:r>
              </a:p>
            </p:txBody>
          </p:sp>
          <p:sp>
            <p:nvSpPr>
              <p:cNvPr id="34" name="Rectangle 33"/>
              <p:cNvSpPr/>
              <p:nvPr/>
            </p:nvSpPr>
            <p:spPr>
              <a:xfrm>
                <a:off x="6125373" y="5408088"/>
                <a:ext cx="3035953" cy="7967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5740" indent="-205740" algn="just" defTabSz="548640">
                  <a:spcAft>
                    <a:spcPts val="360"/>
                  </a:spcAft>
                  <a:buFont typeface="Arial" panose="020B0604020202020204" pitchFamily="34" charset="0"/>
                  <a:buChar char="•"/>
                </a:pPr>
                <a:r>
                  <a:rPr lang="en-GB" sz="1320" i="1" dirty="0">
                    <a:solidFill>
                      <a:srgbClr val="000000"/>
                    </a:solidFill>
                    <a:latin typeface="Gill Sans MT" panose="020B0502020104020203"/>
                  </a:rPr>
                  <a:t>Continue to focus on the diversity within the Finance group, including gender, age and generation.  </a:t>
                </a:r>
              </a:p>
              <a:p>
                <a:pPr marL="205740" indent="-205740" algn="just" defTabSz="548640">
                  <a:spcAft>
                    <a:spcPts val="360"/>
                  </a:spcAft>
                  <a:buFont typeface="Arial" panose="020B0604020202020204" pitchFamily="34" charset="0"/>
                  <a:buChar char="•"/>
                </a:pPr>
                <a:r>
                  <a:rPr lang="en-GB" sz="1320" i="1" dirty="0">
                    <a:solidFill>
                      <a:srgbClr val="000000"/>
                    </a:solidFill>
                    <a:latin typeface="Gill Sans MT" panose="020B0502020104020203"/>
                  </a:rPr>
                  <a:t>Regular use of the dashboard to check progress and current status 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5512582" y="5578807"/>
              <a:ext cx="529095" cy="576242"/>
              <a:chOff x="4649909" y="5867909"/>
              <a:chExt cx="529095" cy="576242"/>
            </a:xfrm>
          </p:grpSpPr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8DCC64A4-333A-4C46-A29F-7031D1CC2F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r="57207"/>
              <a:stretch/>
            </p:blipFill>
            <p:spPr>
              <a:xfrm>
                <a:off x="4649909" y="5867909"/>
                <a:ext cx="196903" cy="569677"/>
              </a:xfrm>
              <a:prstGeom prst="rect">
                <a:avLst/>
              </a:prstGeom>
            </p:spPr>
          </p:pic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8DCC64A4-333A-4C46-A29F-7031D1CC2F4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l="57131"/>
              <a:stretch/>
            </p:blipFill>
            <p:spPr>
              <a:xfrm>
                <a:off x="4981758" y="5874474"/>
                <a:ext cx="197246" cy="569677"/>
              </a:xfrm>
              <a:prstGeom prst="rect">
                <a:avLst/>
              </a:prstGeom>
            </p:spPr>
          </p:pic>
        </p:grpSp>
      </p:grpSp>
      <p:sp>
        <p:nvSpPr>
          <p:cNvPr id="38" name="TextBox 37"/>
          <p:cNvSpPr txBox="1"/>
          <p:nvPr/>
        </p:nvSpPr>
        <p:spPr>
          <a:xfrm>
            <a:off x="1828800" y="7744003"/>
            <a:ext cx="5054352" cy="345638"/>
          </a:xfrm>
          <a:prstGeom prst="rect">
            <a:avLst/>
          </a:prstGeom>
        </p:spPr>
        <p:txBody>
          <a:bodyPr vert="horz" wrap="none" lIns="82296" tIns="41148" rIns="82296" bIns="41148" rtlCol="0">
            <a:noAutofit/>
          </a:bodyPr>
          <a:lstStyle/>
          <a:p>
            <a:pPr defTabSz="548640"/>
            <a:endParaRPr lang="en-GB" sz="960" i="1" dirty="0">
              <a:solidFill>
                <a:srgbClr val="000000"/>
              </a:solidFill>
              <a:latin typeface="Gill Sans MT" panose="020B0502020104020203"/>
            </a:endParaRPr>
          </a:p>
          <a:p>
            <a:pPr defTabSz="548640"/>
            <a:r>
              <a:rPr lang="en-GB" sz="960" i="1" dirty="0">
                <a:solidFill>
                  <a:srgbClr val="000000"/>
                </a:solidFill>
                <a:latin typeface="Gill Sans MT" panose="020B0502020104020203"/>
              </a:rPr>
              <a:t>FLT = Finance Leadership team</a:t>
            </a:r>
            <a:endParaRPr lang="en-GB" sz="840" i="1" dirty="0">
              <a:solidFill>
                <a:srgbClr val="000000"/>
              </a:solidFill>
              <a:latin typeface="Gill Sans MT" panose="020B0502020104020203"/>
            </a:endParaRPr>
          </a:p>
        </p:txBody>
      </p:sp>
    </p:spTree>
    <p:extLst>
      <p:ext uri="{BB962C8B-B14F-4D97-AF65-F5344CB8AC3E}">
        <p14:creationId xmlns:p14="http://schemas.microsoft.com/office/powerpoint/2010/main" val="16428008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307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307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828800" y="0"/>
            <a:ext cx="190500" cy="190500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97280">
              <a:spcBef>
                <a:spcPct val="0"/>
              </a:spcBef>
              <a:spcAft>
                <a:spcPct val="0"/>
              </a:spcAft>
            </a:pPr>
            <a:endParaRPr lang="en-GB" sz="300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22" y="19439"/>
            <a:ext cx="11049000" cy="950596"/>
          </a:xfrm>
        </p:spPr>
        <p:txBody>
          <a:bodyPr>
            <a:normAutofit fontScale="90000"/>
          </a:bodyPr>
          <a:lstStyle/>
          <a:p>
            <a:r>
              <a:rPr lang="en-GB" sz="4000" b="1" dirty="0"/>
              <a:t>Project Compass / Career days roll-out in 2019 to support people development</a:t>
            </a:r>
            <a:br>
              <a:rPr lang="en-GB" sz="3360" dirty="0"/>
            </a:br>
            <a:endParaRPr lang="en-GB" dirty="0"/>
          </a:p>
        </p:txBody>
      </p:sp>
      <p:sp>
        <p:nvSpPr>
          <p:cNvPr id="23" name="Slide Number Placeholder 8">
            <a:extLst>
              <a:ext uri="{FF2B5EF4-FFF2-40B4-BE49-F238E27FC236}">
                <a16:creationId xmlns:a16="http://schemas.microsoft.com/office/drawing/2014/main" id="{AD7EA369-C2C3-FF40-BD9A-9BC8D46C5B77}"/>
              </a:ext>
            </a:extLst>
          </p:cNvPr>
          <p:cNvSpPr txBox="1">
            <a:spLocks/>
          </p:cNvSpPr>
          <p:nvPr/>
        </p:nvSpPr>
        <p:spPr>
          <a:xfrm>
            <a:off x="12252960" y="7097827"/>
            <a:ext cx="384048" cy="438912"/>
          </a:xfrm>
          <a:prstGeom prst="rect">
            <a:avLst/>
          </a:prstGeom>
          <a:ln>
            <a:solidFill>
              <a:srgbClr val="FFFFFF"/>
            </a:solidFill>
            <a:prstDash val="sysDot"/>
          </a:ln>
        </p:spPr>
        <p:txBody>
          <a:bodyPr vert="horz" lIns="109728" tIns="54864" rIns="109728" bIns="54864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/>
            <a:fld id="{43F496C9-0AD9-C24F-92EB-2D26D61C9EC0}" type="slidenum">
              <a:rPr lang="nl-NL" sz="1080">
                <a:solidFill>
                  <a:srgbClr val="FFFFFF"/>
                </a:solidFill>
                <a:latin typeface="Gill Sans MT" panose="020B0502020104020203"/>
              </a:rPr>
              <a:pPr defTabSz="1097280"/>
              <a:t>19</a:t>
            </a:fld>
            <a:endParaRPr lang="nl-NL" sz="1080" dirty="0">
              <a:solidFill>
                <a:srgbClr val="FFFFFF"/>
              </a:solidFill>
              <a:latin typeface="Gill Sans MT" panose="020B0502020104020203"/>
            </a:endParaRPr>
          </a:p>
        </p:txBody>
      </p:sp>
      <p:pic>
        <p:nvPicPr>
          <p:cNvPr id="25" name="Picture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48991" y="5071888"/>
            <a:ext cx="3826501" cy="2790041"/>
          </a:xfrm>
          <a:prstGeom prst="rect">
            <a:avLst/>
          </a:prstGeom>
          <a:ln w="19050">
            <a:noFill/>
          </a:ln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61767" y="4951731"/>
            <a:ext cx="3829963" cy="2792543"/>
          </a:xfrm>
          <a:prstGeom prst="rect">
            <a:avLst/>
          </a:prstGeom>
          <a:ln w="19050">
            <a:noFill/>
          </a:ln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2CE3075F-3423-43E4-9D31-D6429615EF2F}"/>
              </a:ext>
            </a:extLst>
          </p:cNvPr>
          <p:cNvSpPr/>
          <p:nvPr/>
        </p:nvSpPr>
        <p:spPr>
          <a:xfrm>
            <a:off x="2330880" y="1263283"/>
            <a:ext cx="3256128" cy="3256126"/>
          </a:xfrm>
          <a:prstGeom prst="ellipse">
            <a:avLst/>
          </a:prstGeom>
          <a:gradFill flip="none" rotWithShape="1">
            <a:gsLst>
              <a:gs pos="28000">
                <a:srgbClr val="FFFFFF"/>
              </a:gs>
              <a:gs pos="99000">
                <a:srgbClr val="FFFFFF">
                  <a:lumMod val="8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38100" cap="rnd" cmpd="sng" algn="ctr"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FFFFFF">
                    <a:lumMod val="85000"/>
                  </a:srgbClr>
                </a:gs>
                <a:gs pos="83000">
                  <a:srgbClr val="FFFFFF">
                    <a:lumMod val="85000"/>
                  </a:srgbClr>
                </a:gs>
                <a:gs pos="100000">
                  <a:srgbClr val="FFFFFF">
                    <a:lumMod val="85000"/>
                  </a:srgbClr>
                </a:gs>
              </a:gsLst>
              <a:lin ang="5400000" scaled="1"/>
              <a:tileRect/>
            </a:gra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68096" tIns="0" rIns="10972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22899">
              <a:defRPr/>
            </a:pPr>
            <a:endParaRPr lang="en-US" sz="1680" kern="0" dirty="0">
              <a:solidFill>
                <a:prstClr val="black">
                  <a:lumMod val="75000"/>
                  <a:lumOff val="25000"/>
                </a:prstClr>
              </a:solidFill>
              <a:latin typeface="Gill Sans MT" panose="020B0502020104020203"/>
              <a:cs typeface="Arial" panose="020B0604020202020204" pitchFamily="34" charset="0"/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932CDD2-0E3A-469F-930C-E48DDE67182F}"/>
              </a:ext>
            </a:extLst>
          </p:cNvPr>
          <p:cNvSpPr/>
          <p:nvPr/>
        </p:nvSpPr>
        <p:spPr>
          <a:xfrm rot="10800000">
            <a:off x="5441628" y="1522512"/>
            <a:ext cx="3256126" cy="3256128"/>
          </a:xfrm>
          <a:prstGeom prst="ellipse">
            <a:avLst/>
          </a:prstGeom>
          <a:gradFill flip="none" rotWithShape="1">
            <a:gsLst>
              <a:gs pos="28000">
                <a:srgbClr val="FFFFFF"/>
              </a:gs>
              <a:gs pos="99000">
                <a:srgbClr val="FFFFFF">
                  <a:lumMod val="8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 w="38100" cap="rnd" cmpd="sng" algn="ctr">
            <a:gradFill flip="none" rotWithShape="1">
              <a:gsLst>
                <a:gs pos="0">
                  <a:srgbClr val="A5A5A5">
                    <a:lumMod val="5000"/>
                    <a:lumOff val="95000"/>
                  </a:srgbClr>
                </a:gs>
                <a:gs pos="74000">
                  <a:srgbClr val="FFFFFF">
                    <a:lumMod val="85000"/>
                  </a:srgbClr>
                </a:gs>
                <a:gs pos="83000">
                  <a:srgbClr val="FFFFFF">
                    <a:lumMod val="85000"/>
                  </a:srgbClr>
                </a:gs>
                <a:gs pos="100000">
                  <a:srgbClr val="FFFFFF">
                    <a:lumMod val="85000"/>
                  </a:srgbClr>
                </a:gs>
              </a:gsLst>
              <a:lin ang="5400000" scaled="1"/>
              <a:tileRect/>
            </a:gra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768096" tIns="0" rIns="10972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822899">
              <a:defRPr/>
            </a:pPr>
            <a:endParaRPr lang="en-US" sz="1680" kern="0">
              <a:solidFill>
                <a:prstClr val="black">
                  <a:lumMod val="75000"/>
                  <a:lumOff val="25000"/>
                </a:prstClr>
              </a:solidFill>
              <a:latin typeface="Gill Sans MT" panose="020B0502020104020203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510C8ED-88B0-413C-9C41-89C11689910A}"/>
              </a:ext>
            </a:extLst>
          </p:cNvPr>
          <p:cNvSpPr/>
          <p:nvPr/>
        </p:nvSpPr>
        <p:spPr>
          <a:xfrm>
            <a:off x="2589129" y="1946448"/>
            <a:ext cx="2751404" cy="1865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2940">
              <a:defRPr/>
            </a:pPr>
            <a:r>
              <a:rPr lang="en-US" sz="2400" b="1" kern="0" dirty="0">
                <a:solidFill>
                  <a:srgbClr val="DE0B1C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Finance Competencies</a:t>
            </a:r>
          </a:p>
          <a:p>
            <a:pPr algn="ctr" defTabSz="822940">
              <a:defRPr/>
            </a:pPr>
            <a:r>
              <a:rPr lang="en-US" sz="2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 Black" panose="020B0604020202020204" pitchFamily="34" charset="0"/>
                <a:cs typeface="Arial" panose="020B0604020202020204" pitchFamily="34" charset="0"/>
              </a:rPr>
              <a:t>Defined </a:t>
            </a:r>
          </a:p>
          <a:p>
            <a:pPr algn="ctr" defTabSz="822940">
              <a:defRPr/>
            </a:pPr>
            <a:r>
              <a:rPr lang="en-US" sz="192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Gill Sans MT" panose="020B0502020104020203"/>
                <a:cs typeface="Arial" panose="020B0604020202020204" pitchFamily="34" charset="0"/>
              </a:rPr>
              <a:t>and included into internal </a:t>
            </a:r>
          </a:p>
          <a:p>
            <a:pPr algn="ctr" defTabSz="822940">
              <a:defRPr/>
            </a:pPr>
            <a:r>
              <a:rPr lang="en-US" sz="2400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 Black" panose="020B0604020202020204" pitchFamily="34" charset="0"/>
                <a:cs typeface="Arial" panose="020B0604020202020204" pitchFamily="34" charset="0"/>
              </a:rPr>
              <a:t>job adverts</a:t>
            </a:r>
            <a:endParaRPr lang="en-GB" sz="1680" kern="0" dirty="0">
              <a:solidFill>
                <a:srgbClr val="000000">
                  <a:lumMod val="85000"/>
                  <a:lumOff val="15000"/>
                </a:srgbClr>
              </a:solidFill>
              <a:latin typeface="Gill Sans MT" panose="020B0502020104020203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0B6DD9A-1F6D-4C30-A627-0BD929532AD4}"/>
              </a:ext>
            </a:extLst>
          </p:cNvPr>
          <p:cNvSpPr/>
          <p:nvPr/>
        </p:nvSpPr>
        <p:spPr>
          <a:xfrm>
            <a:off x="5606122" y="2169642"/>
            <a:ext cx="291893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22940">
              <a:defRPr/>
            </a:pPr>
            <a:r>
              <a:rPr lang="en-US" sz="2400" b="1" kern="0" dirty="0">
                <a:solidFill>
                  <a:srgbClr val="DE0B1C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Finance Career </a:t>
            </a:r>
          </a:p>
          <a:p>
            <a:pPr algn="ctr" defTabSz="822940">
              <a:defRPr/>
            </a:pPr>
            <a:r>
              <a:rPr lang="en-US" sz="2400" b="1" kern="0" dirty="0">
                <a:solidFill>
                  <a:srgbClr val="DE0B1C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Events</a:t>
            </a:r>
          </a:p>
          <a:p>
            <a:pPr algn="ctr" defTabSz="822940">
              <a:defRPr/>
            </a:pPr>
            <a:endParaRPr lang="en-US" sz="2400" b="1" kern="0" dirty="0">
              <a:solidFill>
                <a:srgbClr val="000000">
                  <a:lumMod val="85000"/>
                  <a:lumOff val="15000"/>
                </a:srgbClr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 algn="ctr" defTabSz="822940">
              <a:defRPr/>
            </a:pPr>
            <a:r>
              <a:rPr lang="en-US" sz="2400" b="1" kern="0" dirty="0">
                <a:solidFill>
                  <a:srgbClr val="000000">
                    <a:lumMod val="85000"/>
                    <a:lumOff val="15000"/>
                  </a:srgbClr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Taken place in each BU</a:t>
            </a:r>
            <a:endParaRPr lang="en-GB" sz="1920" kern="0" dirty="0">
              <a:solidFill>
                <a:srgbClr val="000000">
                  <a:lumMod val="85000"/>
                  <a:lumOff val="15000"/>
                </a:srgbClr>
              </a:solidFill>
              <a:latin typeface="Gill Sans MT" panose="020B0502020104020203"/>
              <a:cs typeface="Arial" panose="020B0604020202020204" pitchFamily="34" charset="0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46F02C0-2749-44AB-A86C-2869AD64109E}"/>
              </a:ext>
            </a:extLst>
          </p:cNvPr>
          <p:cNvGrpSpPr/>
          <p:nvPr/>
        </p:nvGrpSpPr>
        <p:grpSpPr>
          <a:xfrm>
            <a:off x="8265707" y="2050620"/>
            <a:ext cx="4453805" cy="3002801"/>
            <a:chOff x="358527" y="1515003"/>
            <a:chExt cx="3374094" cy="2274848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D43EA5C-19CC-4D9F-87DA-09B26CDAB126}"/>
                </a:ext>
              </a:extLst>
            </p:cNvPr>
            <p:cNvSpPr/>
            <p:nvPr/>
          </p:nvSpPr>
          <p:spPr>
            <a:xfrm>
              <a:off x="358527" y="1515003"/>
              <a:ext cx="3374094" cy="4057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22940">
                <a:defRPr/>
              </a:pPr>
              <a:r>
                <a:rPr lang="en-US" sz="2880" b="1" kern="0" spc="9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CCEP Finance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B74FC96-D6FF-4E61-A3FF-0CDB1BA5FDFF}"/>
                </a:ext>
              </a:extLst>
            </p:cNvPr>
            <p:cNvSpPr/>
            <p:nvPr/>
          </p:nvSpPr>
          <p:spPr>
            <a:xfrm>
              <a:off x="625633" y="2516822"/>
              <a:ext cx="2839883" cy="5176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22940">
                <a:defRPr/>
              </a:pPr>
              <a:r>
                <a:rPr lang="en-US" sz="3840" b="1" kern="0" spc="9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Toolkit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010A7D2-3985-4F0F-A2CF-6D08591BB780}"/>
                </a:ext>
              </a:extLst>
            </p:cNvPr>
            <p:cNvSpPr/>
            <p:nvPr/>
          </p:nvSpPr>
          <p:spPr>
            <a:xfrm>
              <a:off x="1043111" y="2992430"/>
              <a:ext cx="2051155" cy="7974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Finance Competencies</a:t>
              </a:r>
            </a:p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Finance Area Overview</a:t>
              </a:r>
            </a:p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Video interviews</a:t>
              </a:r>
            </a:p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Stakeholder maps by areas</a:t>
              </a:r>
              <a:endParaRPr lang="en-GB" sz="1560" dirty="0">
                <a:solidFill>
                  <a:prstClr val="black"/>
                </a:solidFill>
                <a:latin typeface="Gill Sans MT" panose="020B0502020104020203"/>
                <a:cs typeface="Arial" panose="020B0604020202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09B1C48-F6B9-4EDC-AB3A-20C511E5EA8B}"/>
                </a:ext>
              </a:extLst>
            </p:cNvPr>
            <p:cNvSpPr/>
            <p:nvPr/>
          </p:nvSpPr>
          <p:spPr>
            <a:xfrm>
              <a:off x="476014" y="1653430"/>
              <a:ext cx="3139117" cy="107721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22940">
                <a:defRPr/>
              </a:pPr>
              <a:r>
                <a:rPr lang="en-US" sz="8640" b="1" kern="0" spc="-136" dirty="0">
                  <a:solidFill>
                    <a:prstClr val="white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Career</a:t>
              </a:r>
              <a:endParaRPr lang="en-GB" sz="5760" b="1" spc="-136" dirty="0">
                <a:solidFill>
                  <a:prstClr val="black"/>
                </a:solidFill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</p:grpSp>
      <p:sp>
        <p:nvSpPr>
          <p:cNvPr id="43" name="Oval 42">
            <a:extLst>
              <a:ext uri="{FF2B5EF4-FFF2-40B4-BE49-F238E27FC236}">
                <a16:creationId xmlns:a16="http://schemas.microsoft.com/office/drawing/2014/main" id="{F21411F3-2741-4F99-9748-85426068E66F}"/>
              </a:ext>
            </a:extLst>
          </p:cNvPr>
          <p:cNvSpPr/>
          <p:nvPr/>
        </p:nvSpPr>
        <p:spPr>
          <a:xfrm>
            <a:off x="8554867" y="1349693"/>
            <a:ext cx="4069967" cy="4069967"/>
          </a:xfrm>
          <a:prstGeom prst="ellipse">
            <a:avLst/>
          </a:prstGeom>
          <a:gradFill flip="none" rotWithShape="1">
            <a:gsLst>
              <a:gs pos="28000">
                <a:srgbClr val="FF0000"/>
              </a:gs>
              <a:gs pos="99000">
                <a:srgbClr val="C00000"/>
              </a:gs>
            </a:gsLst>
            <a:path path="circle">
              <a:fillToRect l="100000" t="100000"/>
            </a:path>
            <a:tileRect r="-100000" b="-100000"/>
          </a:gradFill>
          <a:ln w="38100" cap="rnd" cmpd="sng" algn="ctr">
            <a:gradFill flip="none" rotWithShape="1">
              <a:gsLst>
                <a:gs pos="0">
                  <a:srgbClr val="FF0000"/>
                </a:gs>
                <a:gs pos="100000">
                  <a:srgbClr val="C00000"/>
                </a:gs>
              </a:gsLst>
              <a:lin ang="5400000" scaled="1"/>
              <a:tileRect/>
            </a:gradFill>
            <a:prstDash val="solid"/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ot="0" spcFirstLastPara="0" vertOverflow="overflow" horzOverflow="overflow" vert="horz" wrap="square" lIns="109728" tIns="219456" rIns="109728" bIns="109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097280">
              <a:lnSpc>
                <a:spcPct val="80000"/>
              </a:lnSpc>
              <a:defRPr/>
            </a:pPr>
            <a:endParaRPr lang="en-US" sz="1216" b="1" kern="0" spc="360" dirty="0">
              <a:solidFill>
                <a:prstClr val="white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46F02C0-2749-44AB-A86C-2869AD64109E}"/>
              </a:ext>
            </a:extLst>
          </p:cNvPr>
          <p:cNvGrpSpPr/>
          <p:nvPr/>
        </p:nvGrpSpPr>
        <p:grpSpPr>
          <a:xfrm>
            <a:off x="8335132" y="2052754"/>
            <a:ext cx="4453805" cy="3002801"/>
            <a:chOff x="358527" y="1515003"/>
            <a:chExt cx="3374094" cy="2274848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BD43EA5C-19CC-4D9F-87DA-09B26CDAB126}"/>
                </a:ext>
              </a:extLst>
            </p:cNvPr>
            <p:cNvSpPr/>
            <p:nvPr/>
          </p:nvSpPr>
          <p:spPr>
            <a:xfrm>
              <a:off x="358527" y="1515003"/>
              <a:ext cx="3374094" cy="3497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22940">
                <a:defRPr/>
              </a:pPr>
              <a:r>
                <a:rPr lang="en-US" sz="2400" b="1" kern="0" spc="9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CCEP Finance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B74FC96-D6FF-4E61-A3FF-0CDB1BA5FDFF}"/>
                </a:ext>
              </a:extLst>
            </p:cNvPr>
            <p:cNvSpPr/>
            <p:nvPr/>
          </p:nvSpPr>
          <p:spPr>
            <a:xfrm>
              <a:off x="625633" y="2516822"/>
              <a:ext cx="283988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22940">
                <a:defRPr/>
              </a:pPr>
              <a:r>
                <a:rPr lang="en-US" sz="3360" b="1" kern="0" spc="9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Toolkit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D010A7D2-3985-4F0F-A2CF-6D08591BB780}"/>
                </a:ext>
              </a:extLst>
            </p:cNvPr>
            <p:cNvSpPr/>
            <p:nvPr/>
          </p:nvSpPr>
          <p:spPr>
            <a:xfrm>
              <a:off x="1043111" y="2992430"/>
              <a:ext cx="2051155" cy="7974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Finance Competencies</a:t>
              </a:r>
            </a:p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Finance Area Overview</a:t>
              </a:r>
            </a:p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Video interviews</a:t>
              </a:r>
            </a:p>
            <a:p>
              <a:pPr algn="ctr" defTabSz="822940">
                <a:defRPr/>
              </a:pPr>
              <a:r>
                <a:rPr lang="en-US" sz="1560" kern="0" dirty="0">
                  <a:solidFill>
                    <a:prstClr val="white"/>
                  </a:solidFill>
                  <a:latin typeface="Gill Sans MT" panose="020B0502020104020203"/>
                  <a:cs typeface="Arial" panose="020B0604020202020204" pitchFamily="34" charset="0"/>
                </a:rPr>
                <a:t>Stakeholder maps by areas</a:t>
              </a:r>
              <a:endParaRPr lang="en-GB" sz="1560" dirty="0">
                <a:solidFill>
                  <a:prstClr val="black"/>
                </a:solidFill>
                <a:latin typeface="Gill Sans MT" panose="020B0502020104020203"/>
                <a:cs typeface="Arial" panose="020B0604020202020204" pitchFamily="34" charset="0"/>
              </a:endParaRP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09B1C48-F6B9-4EDC-AB3A-20C511E5EA8B}"/>
                </a:ext>
              </a:extLst>
            </p:cNvPr>
            <p:cNvSpPr/>
            <p:nvPr/>
          </p:nvSpPr>
          <p:spPr>
            <a:xfrm>
              <a:off x="732859" y="1653430"/>
              <a:ext cx="2625427" cy="9093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822940">
                <a:defRPr/>
              </a:pPr>
              <a:r>
                <a:rPr lang="en-US" sz="7200" b="1" kern="0" spc="-136" dirty="0">
                  <a:solidFill>
                    <a:prstClr val="white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Career</a:t>
              </a:r>
              <a:endParaRPr lang="en-GB" sz="4800" b="1" spc="-136" dirty="0">
                <a:solidFill>
                  <a:prstClr val="black"/>
                </a:solidFill>
                <a:latin typeface="Arial Black" panose="020B0604020202020204" pitchFamily="34" charset="0"/>
                <a:cs typeface="Arial Black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48723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7AF4CF0-9748-44A4-A242-983110213D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1680" y="1302603"/>
            <a:ext cx="4012490" cy="2343478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0555C14-944C-43BA-95C4-33AEE52A7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77745"/>
            <a:ext cx="8149590" cy="950596"/>
          </a:xfrm>
        </p:spPr>
        <p:txBody>
          <a:bodyPr>
            <a:normAutofit/>
          </a:bodyPr>
          <a:lstStyle/>
          <a:p>
            <a:r>
              <a:rPr lang="en-GB" sz="3600" b="1" dirty="0">
                <a:latin typeface="Arial" panose="020B0604020202020204" pitchFamily="34" charset="0"/>
                <a:cs typeface="Arial" panose="020B0604020202020204" pitchFamily="34" charset="0"/>
              </a:rPr>
              <a:t>Key Objectiv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AC51C3-B29A-45CC-B27C-D1F64A79883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64494AB-2ADE-441E-8DC1-D544742B38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7760" y="2983072"/>
            <a:ext cx="4297680" cy="24593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4C848E7-C9E7-48D6-9D41-1DB4B162C1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07634" y="5240267"/>
            <a:ext cx="4511087" cy="252570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3E80EFB-BEEF-4284-88AA-109FF93F13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47800" y="1276327"/>
            <a:ext cx="11506200" cy="6716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358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73524"/>
            <a:ext cx="7875270" cy="701748"/>
          </a:xfrm>
        </p:spPr>
        <p:txBody>
          <a:bodyPr>
            <a:noAutofit/>
          </a:bodyPr>
          <a:lstStyle/>
          <a:p>
            <a:r>
              <a:rPr lang="en-GB" sz="3600" b="1" dirty="0"/>
              <a:t>Careers Day’s in Bulgaria and GB</a:t>
            </a:r>
          </a:p>
        </p:txBody>
      </p:sp>
      <p:sp>
        <p:nvSpPr>
          <p:cNvPr id="4" name="ZoneTexte 6"/>
          <p:cNvSpPr txBox="1"/>
          <p:nvPr/>
        </p:nvSpPr>
        <p:spPr>
          <a:xfrm>
            <a:off x="8942310" y="747745"/>
            <a:ext cx="3721882" cy="492602"/>
          </a:xfrm>
          <a:prstGeom prst="rect">
            <a:avLst/>
          </a:prstGeom>
        </p:spPr>
        <p:txBody>
          <a:bodyPr vert="horz" wrap="square" lIns="109728" tIns="54864" rIns="109728" bIns="54864" rtlCol="0">
            <a:norm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7280"/>
            <a:endParaRPr lang="en-GB" sz="216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1722" y="2591000"/>
            <a:ext cx="4821430" cy="209979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0000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4720" y="4517972"/>
            <a:ext cx="2945520" cy="2746644"/>
          </a:xfrm>
          <a:prstGeom prst="ellipse">
            <a:avLst/>
          </a:prstGeom>
          <a:ln w="63500" cap="rnd">
            <a:solidFill>
              <a:schemeClr val="accent4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Imag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5673" y="1522512"/>
            <a:ext cx="3036922" cy="2277691"/>
          </a:xfrm>
          <a:prstGeom prst="ellipse">
            <a:avLst/>
          </a:prstGeom>
          <a:ln w="63500" cap="rnd">
            <a:solidFill>
              <a:schemeClr val="accent4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grpSp>
        <p:nvGrpSpPr>
          <p:cNvPr id="10" name="Groupe 16"/>
          <p:cNvGrpSpPr/>
          <p:nvPr/>
        </p:nvGrpSpPr>
        <p:grpSpPr>
          <a:xfrm rot="20416463">
            <a:off x="2407307" y="1895627"/>
            <a:ext cx="3089054" cy="562163"/>
            <a:chOff x="2441448" y="2752344"/>
            <a:chExt cx="3630168" cy="685800"/>
          </a:xfrm>
        </p:grpSpPr>
        <p:sp>
          <p:nvSpPr>
            <p:cNvPr id="15" name="Ellipse 17"/>
            <p:cNvSpPr/>
            <p:nvPr/>
          </p:nvSpPr>
          <p:spPr>
            <a:xfrm>
              <a:off x="2441448" y="2752344"/>
              <a:ext cx="3630168" cy="685800"/>
            </a:xfrm>
            <a:prstGeom prst="ellipse">
              <a:avLst/>
            </a:prstGeom>
            <a:solidFill>
              <a:srgbClr val="FFFF00"/>
            </a:solidFill>
            <a:ln w="2540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/>
              <a:endParaRPr lang="en-GB" sz="16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ZoneTexte 18"/>
            <p:cNvSpPr txBox="1"/>
            <p:nvPr/>
          </p:nvSpPr>
          <p:spPr>
            <a:xfrm>
              <a:off x="2629706" y="2889504"/>
              <a:ext cx="3191256" cy="435659"/>
            </a:xfrm>
            <a:prstGeom prst="rect">
              <a:avLst/>
            </a:prstGeom>
          </p:spPr>
          <p:txBody>
            <a:bodyPr vert="horz" wrap="square" lIns="109728" tIns="54864" rIns="109728" bIns="54864" rtlCol="0">
              <a:normAutofit fontScale="85000" lnSpcReduction="20000"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/>
              <a:r>
                <a:rPr lang="en-GB" sz="2400" b="1" dirty="0">
                  <a:solidFill>
                    <a:srgbClr val="000000"/>
                  </a:solidFill>
                  <a:latin typeface="Arial"/>
                </a:rPr>
                <a:t>Sofia </a:t>
              </a:r>
            </a:p>
          </p:txBody>
        </p:sp>
      </p:grpSp>
      <p:pic>
        <p:nvPicPr>
          <p:cNvPr id="11" name="Imag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8791" y="2905066"/>
            <a:ext cx="2944554" cy="2208415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accent4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pSp>
        <p:nvGrpSpPr>
          <p:cNvPr id="12" name="Groupe 25"/>
          <p:cNvGrpSpPr/>
          <p:nvPr/>
        </p:nvGrpSpPr>
        <p:grpSpPr>
          <a:xfrm rot="20416463">
            <a:off x="7591883" y="1665274"/>
            <a:ext cx="3089054" cy="562163"/>
            <a:chOff x="2441448" y="2752344"/>
            <a:chExt cx="3630168" cy="685800"/>
          </a:xfrm>
        </p:grpSpPr>
        <p:sp>
          <p:nvSpPr>
            <p:cNvPr id="13" name="Ellipse 26"/>
            <p:cNvSpPr/>
            <p:nvPr/>
          </p:nvSpPr>
          <p:spPr>
            <a:xfrm>
              <a:off x="2441448" y="2752344"/>
              <a:ext cx="3630168" cy="685800"/>
            </a:xfrm>
            <a:prstGeom prst="ellipse">
              <a:avLst/>
            </a:prstGeom>
            <a:solidFill>
              <a:srgbClr val="FFFF00"/>
            </a:solidFill>
            <a:ln w="25400">
              <a:solidFill>
                <a:srgbClr val="C0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/>
              <a:endParaRPr lang="en-GB" sz="168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ZoneTexte 27"/>
            <p:cNvSpPr txBox="1"/>
            <p:nvPr/>
          </p:nvSpPr>
          <p:spPr>
            <a:xfrm>
              <a:off x="2629706" y="2889504"/>
              <a:ext cx="3191256" cy="435659"/>
            </a:xfrm>
            <a:prstGeom prst="rect">
              <a:avLst/>
            </a:prstGeom>
          </p:spPr>
          <p:txBody>
            <a:bodyPr vert="horz" wrap="square" lIns="109728" tIns="54864" rIns="109728" bIns="54864" rtlCol="0">
              <a:normAutofit fontScale="85000" lnSpcReduction="20000"/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1097280"/>
              <a:r>
                <a:rPr lang="en-GB" sz="2400" b="1" dirty="0">
                  <a:solidFill>
                    <a:srgbClr val="000000"/>
                  </a:solidFill>
                  <a:latin typeface="Arial"/>
                </a:rPr>
                <a:t>GB</a:t>
              </a:r>
            </a:p>
          </p:txBody>
        </p:sp>
      </p:grpSp>
      <p:pic>
        <p:nvPicPr>
          <p:cNvPr id="8" name="Imag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8267" y="4792558"/>
            <a:ext cx="2667919" cy="200094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0000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Imag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6865" y="5749548"/>
            <a:ext cx="2659273" cy="19944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accent4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7472719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412586" y="8112950"/>
            <a:ext cx="4617481" cy="208837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GB" sz="168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307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8307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828800" y="0"/>
            <a:ext cx="190500" cy="190500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097280">
              <a:spcBef>
                <a:spcPct val="0"/>
              </a:spcBef>
              <a:spcAft>
                <a:spcPct val="0"/>
              </a:spcAft>
            </a:pPr>
            <a:endParaRPr lang="en-GB" sz="3360" b="1" dirty="0">
              <a:solidFill>
                <a:srgbClr val="000000"/>
              </a:solidFill>
              <a:latin typeface="Arial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024208" y="7657594"/>
            <a:ext cx="6515297" cy="485597"/>
          </a:xfrm>
          <a:prstGeom prst="rect">
            <a:avLst/>
          </a:prstGeom>
          <a:solidFill>
            <a:schemeClr val="bg1"/>
          </a:solidFill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GB" sz="168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2290167" y="7146573"/>
            <a:ext cx="10249338" cy="842807"/>
          </a:xfrm>
          <a:prstGeom prst="rightArrow">
            <a:avLst/>
          </a:prstGeom>
          <a:solidFill>
            <a:schemeClr val="accent2">
              <a:lumMod val="40000"/>
              <a:lumOff val="60000"/>
            </a:schemeClr>
          </a:solidFill>
          <a:ln w="2540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GB" sz="168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62672" y="4114800"/>
            <a:ext cx="4563352" cy="2872039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44215" y="4265112"/>
            <a:ext cx="1240190" cy="1396436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12192" y="4114800"/>
            <a:ext cx="4609897" cy="2872039"/>
          </a:xfrm>
          <a:prstGeom prst="rect">
            <a:avLst/>
          </a:prstGeom>
        </p:spPr>
      </p:pic>
      <p:sp>
        <p:nvSpPr>
          <p:cNvPr id="24" name="Rectangle 13"/>
          <p:cNvSpPr>
            <a:spLocks noChangeArrowheads="1"/>
          </p:cNvSpPr>
          <p:nvPr/>
        </p:nvSpPr>
        <p:spPr bwMode="auto">
          <a:xfrm>
            <a:off x="3245468" y="1364494"/>
            <a:ext cx="9140634" cy="676475"/>
          </a:xfrm>
          <a:prstGeom prst="rect">
            <a:avLst/>
          </a:prstGeom>
          <a:solidFill>
            <a:srgbClr val="F4000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920" b="1" dirty="0">
                <a:solidFill>
                  <a:srgbClr val="FEFFFF"/>
                </a:solidFill>
                <a:latin typeface="Arial"/>
              </a:rPr>
              <a:t>TO DEVELOP A FINANCE TRAINING FOR </a:t>
            </a:r>
            <a:br>
              <a:rPr lang="en-GB" sz="1920" b="1" dirty="0">
                <a:solidFill>
                  <a:srgbClr val="FEFFFF"/>
                </a:solidFill>
                <a:latin typeface="Arial"/>
              </a:rPr>
            </a:br>
            <a:r>
              <a:rPr lang="en-GB" sz="1920" b="1" dirty="0">
                <a:solidFill>
                  <a:srgbClr val="FEFFFF"/>
                </a:solidFill>
                <a:latin typeface="Arial"/>
              </a:rPr>
              <a:t>NON-FINANCE STIP ELIGIBLE EMPLOYEES</a:t>
            </a:r>
          </a:p>
        </p:txBody>
      </p:sp>
      <p:sp>
        <p:nvSpPr>
          <p:cNvPr id="25" name="Elipse 29"/>
          <p:cNvSpPr>
            <a:spLocks/>
          </p:cNvSpPr>
          <p:nvPr/>
        </p:nvSpPr>
        <p:spPr>
          <a:xfrm>
            <a:off x="2014347" y="1255851"/>
            <a:ext cx="807553" cy="777686"/>
          </a:xfrm>
          <a:prstGeom prst="ellipse">
            <a:avLst/>
          </a:prstGeom>
          <a:solidFill>
            <a:srgbClr val="F4000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7280"/>
            <a:r>
              <a:rPr lang="en-GB" sz="1440" b="1" dirty="0">
                <a:solidFill>
                  <a:srgbClr val="FEFFFF"/>
                </a:solidFill>
                <a:latin typeface="Arial"/>
              </a:rPr>
              <a:t>GOAL</a:t>
            </a:r>
          </a:p>
        </p:txBody>
      </p:sp>
      <p:sp>
        <p:nvSpPr>
          <p:cNvPr id="26" name="Rectangle 13"/>
          <p:cNvSpPr>
            <a:spLocks noChangeArrowheads="1"/>
          </p:cNvSpPr>
          <p:nvPr/>
        </p:nvSpPr>
        <p:spPr bwMode="auto">
          <a:xfrm>
            <a:off x="3245468" y="2187069"/>
            <a:ext cx="2865150" cy="631586"/>
          </a:xfrm>
          <a:prstGeom prst="rect">
            <a:avLst/>
          </a:prstGeom>
          <a:solidFill>
            <a:srgbClr val="B3B3B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No consistent training material available at CCEP level</a:t>
            </a:r>
          </a:p>
        </p:txBody>
      </p:sp>
      <p:sp>
        <p:nvSpPr>
          <p:cNvPr id="27" name="Elipse 32"/>
          <p:cNvSpPr>
            <a:spLocks/>
          </p:cNvSpPr>
          <p:nvPr/>
        </p:nvSpPr>
        <p:spPr>
          <a:xfrm>
            <a:off x="2014346" y="2116426"/>
            <a:ext cx="807553" cy="777686"/>
          </a:xfrm>
          <a:prstGeom prst="ellipse">
            <a:avLst/>
          </a:prstGeom>
          <a:solidFill>
            <a:srgbClr val="B3B3B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7280"/>
            <a:r>
              <a:rPr lang="en-GB" sz="1440" b="1" dirty="0">
                <a:solidFill>
                  <a:srgbClr val="F40009"/>
                </a:solidFill>
                <a:latin typeface="Arial"/>
              </a:rPr>
              <a:t>WHY</a:t>
            </a:r>
          </a:p>
        </p:txBody>
      </p:sp>
      <p:sp>
        <p:nvSpPr>
          <p:cNvPr id="28" name="Rectangle 13"/>
          <p:cNvSpPr>
            <a:spLocks noChangeArrowheads="1"/>
          </p:cNvSpPr>
          <p:nvPr/>
        </p:nvSpPr>
        <p:spPr bwMode="auto">
          <a:xfrm>
            <a:off x="6364695" y="2187069"/>
            <a:ext cx="2865150" cy="631586"/>
          </a:xfrm>
          <a:prstGeom prst="rect">
            <a:avLst/>
          </a:prstGeom>
          <a:solidFill>
            <a:srgbClr val="B3B3B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Close financial knowledge gaps across the entire business</a:t>
            </a:r>
          </a:p>
        </p:txBody>
      </p:sp>
      <p:sp>
        <p:nvSpPr>
          <p:cNvPr id="29" name="Rectangle 13"/>
          <p:cNvSpPr>
            <a:spLocks noChangeArrowheads="1"/>
          </p:cNvSpPr>
          <p:nvPr/>
        </p:nvSpPr>
        <p:spPr bwMode="auto">
          <a:xfrm>
            <a:off x="9520952" y="2187069"/>
            <a:ext cx="2865150" cy="631586"/>
          </a:xfrm>
          <a:prstGeom prst="rect">
            <a:avLst/>
          </a:prstGeom>
          <a:solidFill>
            <a:srgbClr val="B3B3B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Understand how strategy &amp; financial objectives translate into every day decision making</a:t>
            </a: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3252210" y="3003166"/>
            <a:ext cx="2844326" cy="481976"/>
          </a:xfrm>
          <a:prstGeom prst="rect">
            <a:avLst/>
          </a:prstGeom>
          <a:solidFill>
            <a:srgbClr val="74AB5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Multiple online training modules (±20min)</a:t>
            </a:r>
          </a:p>
        </p:txBody>
      </p:sp>
      <p:sp>
        <p:nvSpPr>
          <p:cNvPr id="31" name="Elipse 33"/>
          <p:cNvSpPr>
            <a:spLocks/>
          </p:cNvSpPr>
          <p:nvPr/>
        </p:nvSpPr>
        <p:spPr>
          <a:xfrm>
            <a:off x="2014346" y="3077885"/>
            <a:ext cx="807553" cy="777686"/>
          </a:xfrm>
          <a:prstGeom prst="ellipse">
            <a:avLst/>
          </a:prstGeom>
          <a:solidFill>
            <a:srgbClr val="74AB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7280"/>
            <a:r>
              <a:rPr lang="en-GB" sz="1440" b="1" dirty="0">
                <a:solidFill>
                  <a:srgbClr val="FEFFFF"/>
                </a:solidFill>
                <a:latin typeface="Arial"/>
              </a:rPr>
              <a:t>HOW</a:t>
            </a:r>
          </a:p>
        </p:txBody>
      </p:sp>
      <p:sp>
        <p:nvSpPr>
          <p:cNvPr id="32" name="Rectangle 13"/>
          <p:cNvSpPr>
            <a:spLocks noChangeArrowheads="1"/>
          </p:cNvSpPr>
          <p:nvPr/>
        </p:nvSpPr>
        <p:spPr bwMode="auto">
          <a:xfrm>
            <a:off x="3252210" y="3546415"/>
            <a:ext cx="2844326" cy="481976"/>
          </a:xfrm>
          <a:prstGeom prst="rect">
            <a:avLst/>
          </a:prstGeom>
          <a:solidFill>
            <a:srgbClr val="74AB5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Simple but engaging</a:t>
            </a:r>
          </a:p>
        </p:txBody>
      </p:sp>
      <p:sp>
        <p:nvSpPr>
          <p:cNvPr id="33" name="Rectangle 13"/>
          <p:cNvSpPr>
            <a:spLocks noChangeArrowheads="1"/>
          </p:cNvSpPr>
          <p:nvPr/>
        </p:nvSpPr>
        <p:spPr bwMode="auto">
          <a:xfrm>
            <a:off x="6364695" y="2991475"/>
            <a:ext cx="2844326" cy="481976"/>
          </a:xfrm>
          <a:prstGeom prst="rect">
            <a:avLst/>
          </a:prstGeom>
          <a:solidFill>
            <a:srgbClr val="74AB5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English as common language</a:t>
            </a:r>
          </a:p>
        </p:txBody>
      </p:sp>
      <p:sp>
        <p:nvSpPr>
          <p:cNvPr id="34" name="Rectangle 13"/>
          <p:cNvSpPr>
            <a:spLocks noChangeArrowheads="1"/>
          </p:cNvSpPr>
          <p:nvPr/>
        </p:nvSpPr>
        <p:spPr bwMode="auto">
          <a:xfrm>
            <a:off x="6364695" y="3534723"/>
            <a:ext cx="2844326" cy="481976"/>
          </a:xfrm>
          <a:prstGeom prst="rect">
            <a:avLst/>
          </a:prstGeom>
          <a:solidFill>
            <a:srgbClr val="74AB5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Timeless</a:t>
            </a: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9520951" y="2991475"/>
            <a:ext cx="2844326" cy="481976"/>
          </a:xfrm>
          <a:prstGeom prst="rect">
            <a:avLst/>
          </a:prstGeom>
          <a:solidFill>
            <a:srgbClr val="74AB5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Mgr. &amp; Sr. Mgr.: recommended</a:t>
            </a:r>
            <a:b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</a:br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AD &amp; up: mandatory</a:t>
            </a: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auto">
          <a:xfrm>
            <a:off x="9520951" y="3534723"/>
            <a:ext cx="2844326" cy="481976"/>
          </a:xfrm>
          <a:prstGeom prst="rect">
            <a:avLst/>
          </a:prstGeom>
          <a:solidFill>
            <a:srgbClr val="74AB5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12072" tIns="56035" rIns="112072" bIns="56035" anchor="ctr"/>
          <a:lstStyle/>
          <a:p>
            <a:pPr algn="ctr" defTabSz="1097280"/>
            <a:r>
              <a:rPr lang="en-GB" sz="1320" dirty="0">
                <a:solidFill>
                  <a:srgbClr val="FEFFFF"/>
                </a:solidFill>
                <a:latin typeface="Gill Sans MT" panose="020B0502020104020203" pitchFamily="34" charset="0"/>
              </a:rPr>
              <a:t>Cross-country applicable</a:t>
            </a:r>
          </a:p>
        </p:txBody>
      </p:sp>
      <p:sp>
        <p:nvSpPr>
          <p:cNvPr id="37" name="Left-Right Arrow 36"/>
          <p:cNvSpPr>
            <a:spLocks noChangeAspect="1"/>
          </p:cNvSpPr>
          <p:nvPr/>
        </p:nvSpPr>
        <p:spPr>
          <a:xfrm>
            <a:off x="5821415" y="4671191"/>
            <a:ext cx="2617110" cy="482440"/>
          </a:xfrm>
          <a:prstGeom prst="leftRightArrow">
            <a:avLst>
              <a:gd name="adj1" fmla="val 53661"/>
              <a:gd name="adj2" fmla="val 50000"/>
            </a:avLst>
          </a:prstGeom>
          <a:solidFill>
            <a:srgbClr val="FF0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1097280"/>
            <a:endParaRPr lang="en-GB" sz="1920" b="1" dirty="0">
              <a:solidFill>
                <a:srgbClr val="FEFFFF"/>
              </a:solidFill>
              <a:latin typeface="Arial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1549270" y="7835379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0771584" y="7835378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9927545" y="7835377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9043392" y="7830413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8112943" y="7809539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7142381" y="7835374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3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6191875" y="7835373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2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5261426" y="7835372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1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4290864" y="7830415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4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3253949" y="7830413"/>
            <a:ext cx="671220" cy="455951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440" dirty="0">
                <a:solidFill>
                  <a:srgbClr val="000000"/>
                </a:solidFill>
                <a:latin typeface="Arial"/>
              </a:rPr>
              <a:t>Q3</a:t>
            </a:r>
            <a:br>
              <a:rPr lang="en-GB" sz="1440" dirty="0">
                <a:solidFill>
                  <a:srgbClr val="000000"/>
                </a:solidFill>
                <a:latin typeface="Arial"/>
              </a:rPr>
            </a:br>
            <a:endParaRPr lang="en-GB" sz="144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582729" y="6966317"/>
            <a:ext cx="738067" cy="442912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680" dirty="0">
                <a:solidFill>
                  <a:srgbClr val="000000"/>
                </a:solidFill>
                <a:latin typeface="Arial"/>
              </a:rPr>
              <a:t>2018</a:t>
            </a:r>
            <a:endParaRPr lang="en-GB" sz="144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651738" y="4482283"/>
            <a:ext cx="1621445" cy="914801"/>
          </a:xfrm>
          <a:prstGeom prst="ellipse">
            <a:avLst/>
          </a:prstGeom>
          <a:noFill/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nl-BE" sz="2160">
              <a:solidFill>
                <a:srgbClr val="FEFFFF"/>
              </a:solidFill>
              <a:latin typeface="Arial"/>
            </a:endParaRPr>
          </a:p>
        </p:txBody>
      </p:sp>
      <p:sp>
        <p:nvSpPr>
          <p:cNvPr id="6" name="Right Arrow 5"/>
          <p:cNvSpPr/>
          <p:nvPr/>
        </p:nvSpPr>
        <p:spPr>
          <a:xfrm>
            <a:off x="3159058" y="7150364"/>
            <a:ext cx="9140634" cy="716068"/>
          </a:xfrm>
          <a:prstGeom prst="rightArrow">
            <a:avLst/>
          </a:prstGeom>
          <a:noFill/>
          <a:ln w="254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endParaRPr lang="en-GB" sz="168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623923" y="6966317"/>
            <a:ext cx="738067" cy="442912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680" dirty="0">
                <a:solidFill>
                  <a:srgbClr val="000000"/>
                </a:solidFill>
                <a:latin typeface="Arial"/>
              </a:rPr>
              <a:t>2019</a:t>
            </a:r>
            <a:endParaRPr lang="en-GB" sz="144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10359593" y="6966317"/>
            <a:ext cx="738067" cy="442912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1097280"/>
            <a:r>
              <a:rPr lang="en-GB" sz="1680" dirty="0">
                <a:solidFill>
                  <a:srgbClr val="000000"/>
                </a:solidFill>
                <a:latin typeface="Arial"/>
              </a:rPr>
              <a:t>2020</a:t>
            </a:r>
            <a:endParaRPr lang="en-GB" sz="144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4636502" y="7424390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8438525" y="7399193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11981318" y="7398646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10253126" y="7398645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3599587" y="7409229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9389030" y="7398644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11117222" y="7424390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5587008" y="7421446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6537514" y="7409229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7401610" y="7395357"/>
            <a:ext cx="0" cy="33477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4895731" y="7374460"/>
            <a:ext cx="1362991" cy="404147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noAutofit/>
          </a:bodyPr>
          <a:lstStyle/>
          <a:p>
            <a:pPr algn="ctr" defTabSz="1097280"/>
            <a:r>
              <a:rPr lang="en-GB" sz="1320" i="1" dirty="0">
                <a:solidFill>
                  <a:srgbClr val="FF0000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Launch M1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6710333" y="7381484"/>
            <a:ext cx="1362991" cy="392159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noAutofit/>
          </a:bodyPr>
          <a:lstStyle/>
          <a:p>
            <a:pPr algn="ctr" defTabSz="1097280"/>
            <a:r>
              <a:rPr lang="en-GB" sz="1320" i="1" dirty="0">
                <a:solidFill>
                  <a:srgbClr val="FF0000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Launch M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833658" y="7381483"/>
            <a:ext cx="1362991" cy="397123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noAutofit/>
          </a:bodyPr>
          <a:lstStyle/>
          <a:p>
            <a:pPr algn="ctr" defTabSz="1097280"/>
            <a:r>
              <a:rPr lang="en-GB" sz="1320" i="1" dirty="0">
                <a:solidFill>
                  <a:srgbClr val="FF0000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Launch M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389031" y="7369504"/>
            <a:ext cx="1362991" cy="404138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noAutofit/>
          </a:bodyPr>
          <a:lstStyle/>
          <a:p>
            <a:pPr algn="ctr" defTabSz="1097280"/>
            <a:r>
              <a:rPr lang="en-GB" sz="1320" i="1" dirty="0">
                <a:solidFill>
                  <a:srgbClr val="FF0000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Launch M4</a:t>
            </a:r>
          </a:p>
        </p:txBody>
      </p:sp>
      <p:sp>
        <p:nvSpPr>
          <p:cNvPr id="71" name="Freeform 66"/>
          <p:cNvSpPr>
            <a:spLocks noChangeAspect="1"/>
          </p:cNvSpPr>
          <p:nvPr/>
        </p:nvSpPr>
        <p:spPr bwMode="gray">
          <a:xfrm>
            <a:off x="5500598" y="7225546"/>
            <a:ext cx="251549" cy="222865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solidFill>
            <a:srgbClr val="74AA50"/>
          </a:solidFill>
          <a:ln w="19050" cmpd="sng">
            <a:solidFill>
              <a:srgbClr val="74AB50"/>
            </a:solidFill>
            <a:round/>
            <a:headEnd/>
            <a:tailEnd/>
          </a:ln>
        </p:spPr>
        <p:txBody>
          <a:bodyPr lIns="112082" tIns="56041" rIns="112082" bIns="56041"/>
          <a:lstStyle/>
          <a:p>
            <a:pPr defTabSz="1097280"/>
            <a:endParaRPr lang="en-GB" sz="168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0857994" y="7376659"/>
            <a:ext cx="1362991" cy="404138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noAutofit/>
          </a:bodyPr>
          <a:lstStyle/>
          <a:p>
            <a:pPr algn="ctr" defTabSz="1097280"/>
            <a:r>
              <a:rPr lang="en-GB" sz="1320" i="1" dirty="0">
                <a:solidFill>
                  <a:srgbClr val="FF0000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Launch M5</a:t>
            </a:r>
          </a:p>
        </p:txBody>
      </p:sp>
      <p:sp>
        <p:nvSpPr>
          <p:cNvPr id="77" name="Freeform 69"/>
          <p:cNvSpPr>
            <a:spLocks noChangeAspect="1"/>
          </p:cNvSpPr>
          <p:nvPr/>
        </p:nvSpPr>
        <p:spPr bwMode="gray">
          <a:xfrm>
            <a:off x="7315201" y="7225546"/>
            <a:ext cx="274758" cy="243428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ap="flat" cmpd="sng">
            <a:solidFill>
              <a:srgbClr val="74AA50"/>
            </a:solidFill>
            <a:prstDash val="sysDot"/>
            <a:round/>
            <a:headEnd/>
            <a:tailEnd/>
          </a:ln>
        </p:spPr>
        <p:txBody>
          <a:bodyPr lIns="112082" tIns="56041" rIns="112082" bIns="56041"/>
          <a:lstStyle/>
          <a:p>
            <a:pPr defTabSz="1097280"/>
            <a:endParaRPr lang="en-GB" sz="200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Freeform 69"/>
          <p:cNvSpPr>
            <a:spLocks noChangeAspect="1"/>
          </p:cNvSpPr>
          <p:nvPr/>
        </p:nvSpPr>
        <p:spPr bwMode="gray">
          <a:xfrm>
            <a:off x="8524935" y="7225546"/>
            <a:ext cx="274758" cy="243428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ap="flat" cmpd="sng">
            <a:solidFill>
              <a:srgbClr val="74AA50"/>
            </a:solidFill>
            <a:prstDash val="sysDot"/>
            <a:round/>
            <a:headEnd/>
            <a:tailEnd/>
          </a:ln>
        </p:spPr>
        <p:txBody>
          <a:bodyPr lIns="112082" tIns="56041" rIns="112082" bIns="56041"/>
          <a:lstStyle/>
          <a:p>
            <a:pPr defTabSz="1097280"/>
            <a:endParaRPr lang="en-GB" sz="200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9" name="Freeform 69"/>
          <p:cNvSpPr>
            <a:spLocks noChangeAspect="1"/>
          </p:cNvSpPr>
          <p:nvPr/>
        </p:nvSpPr>
        <p:spPr bwMode="gray">
          <a:xfrm>
            <a:off x="10166717" y="7225546"/>
            <a:ext cx="274758" cy="243428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ap="flat" cmpd="sng">
            <a:solidFill>
              <a:srgbClr val="74AA50"/>
            </a:solidFill>
            <a:prstDash val="sysDot"/>
            <a:round/>
            <a:headEnd/>
            <a:tailEnd/>
          </a:ln>
        </p:spPr>
        <p:txBody>
          <a:bodyPr lIns="112082" tIns="56041" rIns="112082" bIns="56041"/>
          <a:lstStyle/>
          <a:p>
            <a:pPr defTabSz="1097280"/>
            <a:endParaRPr lang="en-GB" sz="200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Freeform 69"/>
          <p:cNvSpPr>
            <a:spLocks noChangeAspect="1"/>
          </p:cNvSpPr>
          <p:nvPr/>
        </p:nvSpPr>
        <p:spPr bwMode="gray">
          <a:xfrm>
            <a:off x="11376452" y="7225546"/>
            <a:ext cx="274758" cy="243428"/>
          </a:xfrm>
          <a:custGeom>
            <a:avLst/>
            <a:gdLst/>
            <a:ahLst/>
            <a:cxnLst>
              <a:cxn ang="0">
                <a:pos x="1126" y="1893"/>
              </a:cxn>
              <a:cxn ang="0">
                <a:pos x="1582" y="1093"/>
              </a:cxn>
              <a:cxn ang="0">
                <a:pos x="1958" y="554"/>
              </a:cxn>
              <a:cxn ang="0">
                <a:pos x="2170" y="310"/>
              </a:cxn>
              <a:cxn ang="0">
                <a:pos x="2300" y="163"/>
              </a:cxn>
              <a:cxn ang="0">
                <a:pos x="2431" y="65"/>
              </a:cxn>
              <a:cxn ang="0">
                <a:pos x="2513" y="49"/>
              </a:cxn>
              <a:cxn ang="0">
                <a:pos x="2676" y="16"/>
              </a:cxn>
              <a:cxn ang="0">
                <a:pos x="2920" y="0"/>
              </a:cxn>
              <a:cxn ang="0">
                <a:pos x="2969" y="32"/>
              </a:cxn>
              <a:cxn ang="0">
                <a:pos x="2953" y="65"/>
              </a:cxn>
              <a:cxn ang="0">
                <a:pos x="2855" y="146"/>
              </a:cxn>
              <a:cxn ang="0">
                <a:pos x="2464" y="571"/>
              </a:cxn>
              <a:cxn ang="0">
                <a:pos x="2039" y="1142"/>
              </a:cxn>
              <a:cxn ang="0">
                <a:pos x="1631" y="1795"/>
              </a:cxn>
              <a:cxn ang="0">
                <a:pos x="1289" y="2496"/>
              </a:cxn>
              <a:cxn ang="0">
                <a:pos x="1191" y="2725"/>
              </a:cxn>
              <a:cxn ang="0">
                <a:pos x="1126" y="2839"/>
              </a:cxn>
              <a:cxn ang="0">
                <a:pos x="1044" y="2888"/>
              </a:cxn>
              <a:cxn ang="0">
                <a:pos x="848" y="2904"/>
              </a:cxn>
              <a:cxn ang="0">
                <a:pos x="701" y="2888"/>
              </a:cxn>
              <a:cxn ang="0">
                <a:pos x="636" y="2872"/>
              </a:cxn>
              <a:cxn ang="0">
                <a:pos x="554" y="2758"/>
              </a:cxn>
              <a:cxn ang="0">
                <a:pos x="326" y="2447"/>
              </a:cxn>
              <a:cxn ang="0">
                <a:pos x="65" y="2154"/>
              </a:cxn>
              <a:cxn ang="0">
                <a:pos x="0" y="2039"/>
              </a:cxn>
              <a:cxn ang="0">
                <a:pos x="32" y="1958"/>
              </a:cxn>
              <a:cxn ang="0">
                <a:pos x="228" y="1811"/>
              </a:cxn>
              <a:cxn ang="0">
                <a:pos x="440" y="1827"/>
              </a:cxn>
              <a:cxn ang="0">
                <a:pos x="571" y="1909"/>
              </a:cxn>
              <a:cxn ang="0">
                <a:pos x="734" y="2056"/>
              </a:cxn>
              <a:cxn ang="0">
                <a:pos x="913" y="2317"/>
              </a:cxn>
            </a:cxnLst>
            <a:rect l="0" t="0" r="r" b="b"/>
            <a:pathLst>
              <a:path w="2969" h="2904">
                <a:moveTo>
                  <a:pt x="913" y="2317"/>
                </a:moveTo>
                <a:lnTo>
                  <a:pt x="1126" y="1893"/>
                </a:lnTo>
                <a:lnTo>
                  <a:pt x="1338" y="1485"/>
                </a:lnTo>
                <a:lnTo>
                  <a:pt x="1582" y="1093"/>
                </a:lnTo>
                <a:lnTo>
                  <a:pt x="1843" y="718"/>
                </a:lnTo>
                <a:lnTo>
                  <a:pt x="1958" y="554"/>
                </a:lnTo>
                <a:lnTo>
                  <a:pt x="2072" y="424"/>
                </a:lnTo>
                <a:lnTo>
                  <a:pt x="2170" y="310"/>
                </a:lnTo>
                <a:lnTo>
                  <a:pt x="2235" y="228"/>
                </a:lnTo>
                <a:lnTo>
                  <a:pt x="2300" y="163"/>
                </a:lnTo>
                <a:lnTo>
                  <a:pt x="2366" y="114"/>
                </a:lnTo>
                <a:lnTo>
                  <a:pt x="2431" y="65"/>
                </a:lnTo>
                <a:lnTo>
                  <a:pt x="2464" y="65"/>
                </a:lnTo>
                <a:lnTo>
                  <a:pt x="2513" y="49"/>
                </a:lnTo>
                <a:lnTo>
                  <a:pt x="2594" y="32"/>
                </a:lnTo>
                <a:lnTo>
                  <a:pt x="2676" y="16"/>
                </a:lnTo>
                <a:lnTo>
                  <a:pt x="2823" y="0"/>
                </a:lnTo>
                <a:lnTo>
                  <a:pt x="2920" y="0"/>
                </a:lnTo>
                <a:lnTo>
                  <a:pt x="2953" y="16"/>
                </a:lnTo>
                <a:lnTo>
                  <a:pt x="2969" y="32"/>
                </a:lnTo>
                <a:lnTo>
                  <a:pt x="2969" y="49"/>
                </a:lnTo>
                <a:lnTo>
                  <a:pt x="2953" y="65"/>
                </a:lnTo>
                <a:lnTo>
                  <a:pt x="2920" y="98"/>
                </a:lnTo>
                <a:lnTo>
                  <a:pt x="2855" y="146"/>
                </a:lnTo>
                <a:lnTo>
                  <a:pt x="2659" y="342"/>
                </a:lnTo>
                <a:lnTo>
                  <a:pt x="2464" y="571"/>
                </a:lnTo>
                <a:lnTo>
                  <a:pt x="2251" y="832"/>
                </a:lnTo>
                <a:lnTo>
                  <a:pt x="2039" y="1142"/>
                </a:lnTo>
                <a:lnTo>
                  <a:pt x="1827" y="1468"/>
                </a:lnTo>
                <a:lnTo>
                  <a:pt x="1631" y="1795"/>
                </a:lnTo>
                <a:lnTo>
                  <a:pt x="1452" y="2137"/>
                </a:lnTo>
                <a:lnTo>
                  <a:pt x="1289" y="2496"/>
                </a:lnTo>
                <a:lnTo>
                  <a:pt x="1240" y="2627"/>
                </a:lnTo>
                <a:lnTo>
                  <a:pt x="1191" y="2725"/>
                </a:lnTo>
                <a:lnTo>
                  <a:pt x="1158" y="2806"/>
                </a:lnTo>
                <a:lnTo>
                  <a:pt x="1126" y="2839"/>
                </a:lnTo>
                <a:lnTo>
                  <a:pt x="1093" y="2872"/>
                </a:lnTo>
                <a:lnTo>
                  <a:pt x="1044" y="2888"/>
                </a:lnTo>
                <a:lnTo>
                  <a:pt x="962" y="2904"/>
                </a:lnTo>
                <a:lnTo>
                  <a:pt x="848" y="2904"/>
                </a:lnTo>
                <a:lnTo>
                  <a:pt x="767" y="2904"/>
                </a:lnTo>
                <a:lnTo>
                  <a:pt x="701" y="2888"/>
                </a:lnTo>
                <a:lnTo>
                  <a:pt x="669" y="2888"/>
                </a:lnTo>
                <a:lnTo>
                  <a:pt x="636" y="2872"/>
                </a:lnTo>
                <a:lnTo>
                  <a:pt x="587" y="2806"/>
                </a:lnTo>
                <a:lnTo>
                  <a:pt x="554" y="2758"/>
                </a:lnTo>
                <a:lnTo>
                  <a:pt x="505" y="2692"/>
                </a:lnTo>
                <a:lnTo>
                  <a:pt x="326" y="2447"/>
                </a:lnTo>
                <a:lnTo>
                  <a:pt x="114" y="2203"/>
                </a:lnTo>
                <a:lnTo>
                  <a:pt x="65" y="2154"/>
                </a:lnTo>
                <a:lnTo>
                  <a:pt x="32" y="2105"/>
                </a:lnTo>
                <a:lnTo>
                  <a:pt x="0" y="2039"/>
                </a:lnTo>
                <a:lnTo>
                  <a:pt x="16" y="2007"/>
                </a:lnTo>
                <a:lnTo>
                  <a:pt x="32" y="1958"/>
                </a:lnTo>
                <a:lnTo>
                  <a:pt x="114" y="1876"/>
                </a:lnTo>
                <a:lnTo>
                  <a:pt x="228" y="1811"/>
                </a:lnTo>
                <a:lnTo>
                  <a:pt x="326" y="1795"/>
                </a:lnTo>
                <a:lnTo>
                  <a:pt x="440" y="1827"/>
                </a:lnTo>
                <a:lnTo>
                  <a:pt x="505" y="1860"/>
                </a:lnTo>
                <a:lnTo>
                  <a:pt x="571" y="1909"/>
                </a:lnTo>
                <a:lnTo>
                  <a:pt x="652" y="1974"/>
                </a:lnTo>
                <a:lnTo>
                  <a:pt x="734" y="2056"/>
                </a:lnTo>
                <a:lnTo>
                  <a:pt x="815" y="2170"/>
                </a:lnTo>
                <a:lnTo>
                  <a:pt x="913" y="2317"/>
                </a:lnTo>
                <a:close/>
              </a:path>
            </a:pathLst>
          </a:custGeom>
          <a:noFill/>
          <a:ln w="19050" cap="flat" cmpd="sng">
            <a:solidFill>
              <a:srgbClr val="74AA50"/>
            </a:solidFill>
            <a:prstDash val="sysDot"/>
            <a:round/>
            <a:headEnd/>
            <a:tailEnd/>
          </a:ln>
        </p:spPr>
        <p:txBody>
          <a:bodyPr lIns="112082" tIns="56041" rIns="112082" bIns="56041"/>
          <a:lstStyle/>
          <a:p>
            <a:pPr defTabSz="1097280"/>
            <a:endParaRPr lang="en-GB" sz="2009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2274822" y="7335148"/>
            <a:ext cx="2176258" cy="489793"/>
          </a:xfrm>
          <a:prstGeom prst="rect">
            <a:avLst/>
          </a:prstGeom>
        </p:spPr>
        <p:txBody>
          <a:bodyPr vert="horz" wrap="square" lIns="109728" tIns="54864" rIns="109728" bIns="54864" rtlCol="0" anchor="ctr">
            <a:noAutofit/>
          </a:bodyPr>
          <a:lstStyle/>
          <a:p>
            <a:pPr algn="ctr" defTabSz="1097280"/>
            <a:r>
              <a:rPr lang="en-GB" sz="1320" i="1" dirty="0">
                <a:solidFill>
                  <a:srgbClr val="FF0000"/>
                </a:solidFill>
                <a:latin typeface="Narkisim" panose="020E0502050101010101" pitchFamily="34" charset="-79"/>
                <a:cs typeface="Narkisim" panose="020E0502050101010101" pitchFamily="34" charset="-79"/>
              </a:rPr>
              <a:t>Commence development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>
            <a:off x="4290865" y="7571184"/>
            <a:ext cx="248365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24458" y="27594"/>
            <a:ext cx="12175233" cy="950596"/>
          </a:xfrm>
        </p:spPr>
        <p:txBody>
          <a:bodyPr>
            <a:noAutofit/>
          </a:bodyPr>
          <a:lstStyle/>
          <a:p>
            <a:r>
              <a:rPr lang="en-GB" sz="3600" b="1" dirty="0"/>
              <a:t>Develop ‘Finance for Non-Finance’ online modules </a:t>
            </a:r>
            <a:br>
              <a:rPr lang="en-GB" sz="3600" b="1" dirty="0"/>
            </a:br>
            <a:r>
              <a:rPr lang="en-GB" sz="3600" b="1" dirty="0"/>
              <a:t>to enhance financial acumen in business</a:t>
            </a:r>
          </a:p>
        </p:txBody>
      </p:sp>
      <p:sp>
        <p:nvSpPr>
          <p:cNvPr id="2" name="Rounded Rectangular Callout 1"/>
          <p:cNvSpPr/>
          <p:nvPr/>
        </p:nvSpPr>
        <p:spPr>
          <a:xfrm>
            <a:off x="11303869" y="5831765"/>
            <a:ext cx="1235635" cy="443275"/>
          </a:xfrm>
          <a:prstGeom prst="wedgeRoundRectCallout">
            <a:avLst>
              <a:gd name="adj1" fmla="val -80940"/>
              <a:gd name="adj2" fmla="val -13803"/>
              <a:gd name="adj3" fmla="val 16667"/>
            </a:avLst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r>
              <a:rPr lang="en-GB" sz="840" dirty="0">
                <a:solidFill>
                  <a:srgbClr val="000000"/>
                </a:solidFill>
                <a:latin typeface="Arial"/>
              </a:rPr>
              <a:t>Launched Oct. 2017</a:t>
            </a:r>
          </a:p>
          <a:p>
            <a:pPr algn="ctr" defTabSz="1097280"/>
            <a:r>
              <a:rPr lang="en-GB" sz="840" dirty="0">
                <a:solidFill>
                  <a:srgbClr val="000000"/>
                </a:solidFill>
                <a:latin typeface="Arial"/>
              </a:rPr>
              <a:t>Completed ~2,500</a:t>
            </a:r>
          </a:p>
        </p:txBody>
      </p:sp>
      <p:sp>
        <p:nvSpPr>
          <p:cNvPr id="81" name="Rounded Rectangular Callout 80"/>
          <p:cNvSpPr/>
          <p:nvPr/>
        </p:nvSpPr>
        <p:spPr>
          <a:xfrm>
            <a:off x="10636876" y="4847769"/>
            <a:ext cx="1298426" cy="440747"/>
          </a:xfrm>
          <a:prstGeom prst="wedgeRoundRectCallout">
            <a:avLst>
              <a:gd name="adj1" fmla="val -81989"/>
              <a:gd name="adj2" fmla="val 14416"/>
              <a:gd name="adj3" fmla="val 16667"/>
            </a:avLst>
          </a:prstGeom>
          <a:noFill/>
          <a:ln w="127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7280"/>
            <a:r>
              <a:rPr lang="en-GB" sz="840" dirty="0">
                <a:solidFill>
                  <a:srgbClr val="000000"/>
                </a:solidFill>
                <a:latin typeface="Arial"/>
              </a:rPr>
              <a:t>Launched April 2019</a:t>
            </a:r>
          </a:p>
          <a:p>
            <a:pPr algn="ctr" defTabSz="1097280"/>
            <a:r>
              <a:rPr lang="en-GB" sz="840" dirty="0">
                <a:solidFill>
                  <a:srgbClr val="000000"/>
                </a:solidFill>
                <a:latin typeface="Arial"/>
              </a:rPr>
              <a:t>Completed ~750</a:t>
            </a:r>
          </a:p>
        </p:txBody>
      </p:sp>
    </p:spTree>
    <p:extLst>
      <p:ext uri="{BB962C8B-B14F-4D97-AF65-F5344CB8AC3E}">
        <p14:creationId xmlns:p14="http://schemas.microsoft.com/office/powerpoint/2010/main" val="2100891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307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307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1828800" y="0"/>
            <a:ext cx="190500" cy="190500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97280">
              <a:spcBef>
                <a:spcPct val="0"/>
              </a:spcBef>
              <a:spcAft>
                <a:spcPct val="0"/>
              </a:spcAft>
            </a:pPr>
            <a:endParaRPr lang="en-GB" sz="276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9851"/>
            <a:ext cx="12039600" cy="950596"/>
          </a:xfrm>
        </p:spPr>
        <p:txBody>
          <a:bodyPr>
            <a:noAutofit/>
          </a:bodyPr>
          <a:lstStyle/>
          <a:p>
            <a:r>
              <a:rPr lang="en-GB" sz="3600" b="1" dirty="0"/>
              <a:t>We are supporting the ‘Action on Society’ through volunteering program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1097280"/>
            <a:r>
              <a:rPr lang="fr-FR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1. XXX  2. XXX  3. XXX  Source: XXX</a:t>
            </a:r>
            <a:endParaRPr lang="fr-FR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58" b="17792"/>
          <a:stretch/>
        </p:blipFill>
        <p:spPr>
          <a:xfrm>
            <a:off x="5607274" y="1330366"/>
            <a:ext cx="2639209" cy="19010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363" y="3709798"/>
            <a:ext cx="3235639" cy="43141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392" y="1330366"/>
            <a:ext cx="3110746" cy="234069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1" t="3577" b="18048"/>
          <a:stretch/>
        </p:blipFill>
        <p:spPr>
          <a:xfrm>
            <a:off x="8371619" y="1309364"/>
            <a:ext cx="4190256" cy="194866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9030" y="5632025"/>
            <a:ext cx="3124080" cy="234351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71"/>
          <a:stretch/>
        </p:blipFill>
        <p:spPr>
          <a:xfrm>
            <a:off x="5639594" y="5572694"/>
            <a:ext cx="3420197" cy="244022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9493" y="3447443"/>
            <a:ext cx="3108614" cy="206878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9492" y="3401168"/>
            <a:ext cx="3152194" cy="21039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088647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0555C14-944C-43BA-95C4-33AEE52A73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36355" y="228600"/>
            <a:ext cx="4633229" cy="950596"/>
          </a:xfrm>
        </p:spPr>
        <p:txBody>
          <a:bodyPr/>
          <a:lstStyle/>
          <a:p>
            <a:r>
              <a:rPr lang="en-GB" sz="3600" b="1" dirty="0"/>
              <a:t>Key Take </a:t>
            </a:r>
            <a:r>
              <a:rPr lang="en-GB" sz="3600" b="1" dirty="0" err="1"/>
              <a:t>Aways</a:t>
            </a:r>
            <a:endParaRPr lang="en-GB" sz="36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AC51C3-B29A-45CC-B27C-D1F64A798830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pPr defTabSz="548640">
              <a:defRPr/>
            </a:pPr>
            <a:r>
              <a:rPr lang="fr-FR" sz="108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1. XXX  2. XXX  3. XXX  Source: XXX</a:t>
            </a:r>
            <a:endParaRPr lang="fr-FR" sz="1080" dirty="0">
              <a:solidFill>
                <a:srgbClr val="000000">
                  <a:lumMod val="50000"/>
                  <a:lumOff val="50000"/>
                </a:srgbClr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98946-03FD-4D44-A7F6-54F73DBA9F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80260" y="1371600"/>
            <a:ext cx="3898174" cy="221773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A85917C-078F-41F4-8998-FD5FCB36A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1829" y="3093749"/>
            <a:ext cx="4633229" cy="257553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14D906A-75D4-44F1-9792-173902D4FF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3920" y="5444302"/>
            <a:ext cx="4114800" cy="2344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4385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6645E05-D5CA-43FC-998A-944FB851CE8B}"/>
              </a:ext>
            </a:extLst>
          </p:cNvPr>
          <p:cNvSpPr txBox="1"/>
          <p:nvPr/>
        </p:nvSpPr>
        <p:spPr>
          <a:xfrm>
            <a:off x="3566160" y="548640"/>
            <a:ext cx="8321040" cy="14219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48640"/>
            <a:r>
              <a:rPr lang="en-GB" sz="2160" b="1" dirty="0">
                <a:solidFill>
                  <a:srgbClr val="C00000"/>
                </a:solidFill>
                <a:latin typeface="Tahoma"/>
              </a:rPr>
              <a:t>Daniel Willoughby, Director, Finance Strategic Initiatives</a:t>
            </a:r>
          </a:p>
          <a:p>
            <a:pPr defTabSz="548640"/>
            <a:r>
              <a:rPr lang="en-GB" sz="2160" dirty="0">
                <a:solidFill>
                  <a:srgbClr val="C00000"/>
                </a:solidFill>
                <a:latin typeface="Tahoma"/>
              </a:rPr>
              <a:t>dwilloughby@ccep.com</a:t>
            </a:r>
          </a:p>
          <a:p>
            <a:pPr defTabSz="548640"/>
            <a:endParaRPr lang="en-GB" sz="2160" i="1" u="sng" dirty="0">
              <a:solidFill>
                <a:srgbClr val="C00000"/>
              </a:solidFill>
              <a:latin typeface="Tahoma"/>
              <a:hlinkClick r:id="rId2"/>
            </a:endParaRPr>
          </a:p>
          <a:p>
            <a:pPr defTabSz="548640"/>
            <a:endParaRPr lang="en-GB" sz="2160" dirty="0">
              <a:solidFill>
                <a:srgbClr val="C00000"/>
              </a:solidFill>
              <a:latin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3743190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EB895A-AD61-48F2-9040-3B5531D53C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22960"/>
            <a:fld id="{43F496C9-0AD9-C24F-92EB-2D26D61C9EC0}" type="slidenum">
              <a:rPr lang="nl-NL">
                <a:solidFill>
                  <a:srgbClr val="FFFFFF"/>
                </a:solidFill>
                <a:latin typeface="Gill Sans MT" panose="020B0502020104020203"/>
              </a:rPr>
              <a:pPr defTabSz="822960"/>
              <a:t>3</a:t>
            </a:fld>
            <a:endParaRPr lang="nl-NL" dirty="0">
              <a:solidFill>
                <a:srgbClr val="FFFFFF"/>
              </a:solidFill>
              <a:latin typeface="Gill Sans MT" panose="020B0502020104020203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C30ED-2A98-420A-9269-754B3BC9C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0" y="3547872"/>
            <a:ext cx="10058400" cy="914400"/>
          </a:xfrm>
        </p:spPr>
        <p:txBody>
          <a:bodyPr>
            <a:normAutofit/>
          </a:bodyPr>
          <a:lstStyle/>
          <a:p>
            <a:r>
              <a:rPr lang="en-GB" sz="5280" dirty="0"/>
              <a:t>Coca-Cola European Partners</a:t>
            </a:r>
          </a:p>
        </p:txBody>
      </p:sp>
    </p:spTree>
    <p:extLst>
      <p:ext uri="{BB962C8B-B14F-4D97-AF65-F5344CB8AC3E}">
        <p14:creationId xmlns:p14="http://schemas.microsoft.com/office/powerpoint/2010/main" val="6233101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/>
          <p:nvPr/>
        </p:nvCxnSpPr>
        <p:spPr>
          <a:xfrm>
            <a:off x="2454412" y="4128136"/>
            <a:ext cx="9734060" cy="0"/>
          </a:xfrm>
          <a:prstGeom prst="line">
            <a:avLst/>
          </a:prstGeom>
          <a:ln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>
          <a:xfrm>
            <a:off x="58516" y="290975"/>
            <a:ext cx="13639799" cy="1034414"/>
          </a:xfrm>
        </p:spPr>
        <p:txBody>
          <a:bodyPr/>
          <a:lstStyle/>
          <a:p>
            <a:r>
              <a:rPr lang="es-ES" sz="3400" b="1" dirty="0" err="1"/>
              <a:t>We</a:t>
            </a:r>
            <a:r>
              <a:rPr lang="es-ES" sz="3400" b="1" dirty="0"/>
              <a:t> </a:t>
            </a:r>
            <a:r>
              <a:rPr lang="es-ES" sz="3400" b="1" dirty="0" err="1"/>
              <a:t>work</a:t>
            </a:r>
            <a:r>
              <a:rPr lang="es-ES" sz="3400" b="1" dirty="0"/>
              <a:t> in </a:t>
            </a:r>
            <a:r>
              <a:rPr lang="es-ES" sz="3400" b="1" dirty="0" err="1"/>
              <a:t>partnership</a:t>
            </a:r>
            <a:r>
              <a:rPr lang="es-ES" sz="3400" b="1" dirty="0"/>
              <a:t> </a:t>
            </a:r>
            <a:r>
              <a:rPr lang="es-ES" sz="3400" b="1" dirty="0" err="1"/>
              <a:t>with</a:t>
            </a:r>
            <a:r>
              <a:rPr lang="es-ES" sz="3400" b="1" dirty="0"/>
              <a:t> The Coca-Cola Company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2454412" y="2663826"/>
            <a:ext cx="9734060" cy="0"/>
          </a:xfrm>
          <a:prstGeom prst="line">
            <a:avLst/>
          </a:prstGeom>
          <a:ln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454412" y="5691302"/>
            <a:ext cx="9734060" cy="0"/>
          </a:xfrm>
          <a:prstGeom prst="line">
            <a:avLst/>
          </a:prstGeom>
          <a:ln cap="rnd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Bottles-02.eps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84602" y="2663826"/>
            <a:ext cx="2145000" cy="4283278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8697932" y="1778888"/>
            <a:ext cx="3924056" cy="5841838"/>
            <a:chOff x="378943" y="1516575"/>
            <a:chExt cx="3270047" cy="4868198"/>
          </a:xfrm>
        </p:grpSpPr>
        <p:pic>
          <p:nvPicPr>
            <p:cNvPr id="10" name="Picture 9" descr="Assets doc 2-39.pn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943" y="4756451"/>
              <a:ext cx="1564358" cy="1528296"/>
            </a:xfrm>
            <a:prstGeom prst="rect">
              <a:avLst/>
            </a:prstGeom>
          </p:spPr>
        </p:pic>
        <p:pic>
          <p:nvPicPr>
            <p:cNvPr id="7" name="Picture 6" descr="CCE_European_Partners_V9_Artboard 4.eps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12082" y="1516575"/>
              <a:ext cx="1234415" cy="514340"/>
            </a:xfrm>
            <a:prstGeom prst="rect">
              <a:avLst/>
            </a:prstGeom>
          </p:spPr>
        </p:pic>
        <p:pic>
          <p:nvPicPr>
            <p:cNvPr id="17" name="Picture 16" descr="Assets-04.eps"/>
            <p:cNvPicPr>
              <a:picLocks noChangeAspect="1"/>
            </p:cNvPicPr>
            <p:nvPr/>
          </p:nvPicPr>
          <p:blipFill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9964" r="-1"/>
            <a:stretch/>
          </p:blipFill>
          <p:spPr>
            <a:xfrm>
              <a:off x="486915" y="3714693"/>
              <a:ext cx="1403764" cy="1028059"/>
            </a:xfrm>
            <a:prstGeom prst="rect">
              <a:avLst/>
            </a:prstGeom>
          </p:spPr>
        </p:pic>
        <p:pic>
          <p:nvPicPr>
            <p:cNvPr id="18" name="Picture 17" descr="Assets-05.eps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37000" y="5001208"/>
              <a:ext cx="1218994" cy="846546"/>
            </a:xfrm>
            <a:prstGeom prst="rect">
              <a:avLst/>
            </a:prstGeom>
          </p:spPr>
        </p:pic>
        <p:sp>
          <p:nvSpPr>
            <p:cNvPr id="24" name="TextBox 23"/>
            <p:cNvSpPr txBox="1"/>
            <p:nvPr/>
          </p:nvSpPr>
          <p:spPr>
            <a:xfrm>
              <a:off x="1876069" y="2464234"/>
              <a:ext cx="1051570" cy="7694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1800" b="1" dirty="0">
                  <a:solidFill>
                    <a:srgbClr val="BC0D21"/>
                  </a:solidFill>
                  <a:latin typeface="Arial"/>
                </a:rPr>
                <a:t>B2B </a:t>
              </a:r>
            </a:p>
            <a:p>
              <a:pPr defTabSz="548640"/>
              <a:r>
                <a:rPr lang="en-US" sz="1800" b="1" dirty="0">
                  <a:solidFill>
                    <a:srgbClr val="BC0D21"/>
                  </a:solidFill>
                  <a:latin typeface="Arial"/>
                </a:rPr>
                <a:t>Customer</a:t>
              </a:r>
            </a:p>
            <a:p>
              <a:pPr defTabSz="548640"/>
              <a:r>
                <a:rPr lang="en-US" sz="1800" b="1" dirty="0">
                  <a:solidFill>
                    <a:srgbClr val="BC0D21"/>
                  </a:solidFill>
                  <a:latin typeface="Arial"/>
                </a:rPr>
                <a:t>focus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949761" y="5746785"/>
              <a:ext cx="50922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3000" b="1" dirty="0">
                  <a:solidFill>
                    <a:srgbClr val="BC0D21"/>
                  </a:solidFill>
                  <a:latin typeface="Arial"/>
                </a:rPr>
                <a:t>13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83887" y="6107774"/>
              <a:ext cx="82848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1560" dirty="0">
                  <a:solidFill>
                    <a:prstClr val="white">
                      <a:lumMod val="50000"/>
                    </a:prstClr>
                  </a:solidFill>
                  <a:latin typeface="Arial"/>
                </a:rPr>
                <a:t>countries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090741" y="5747505"/>
              <a:ext cx="113172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3000" b="1" dirty="0">
                  <a:solidFill>
                    <a:srgbClr val="BC0D21"/>
                  </a:solidFill>
                  <a:latin typeface="Arial"/>
                </a:rPr>
                <a:t>23,500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159524" y="6107774"/>
              <a:ext cx="9567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1560" dirty="0">
                  <a:solidFill>
                    <a:prstClr val="white">
                      <a:lumMod val="50000"/>
                    </a:prstClr>
                  </a:solidFill>
                  <a:latin typeface="Arial"/>
                </a:rPr>
                <a:t>employees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876069" y="3574522"/>
              <a:ext cx="1772921" cy="10256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>
                <a:lnSpc>
                  <a:spcPts val="1752"/>
                </a:lnSpc>
              </a:pP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Bottling and </a:t>
              </a:r>
            </a:p>
            <a:p>
              <a:pPr defTabSz="548640">
                <a:lnSpc>
                  <a:spcPts val="1752"/>
                </a:lnSpc>
              </a:pP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distribution, customer</a:t>
              </a:r>
            </a:p>
            <a:p>
              <a:pPr defTabSz="548640">
                <a:lnSpc>
                  <a:spcPts val="1752"/>
                </a:lnSpc>
              </a:pP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marketing, market </a:t>
              </a:r>
            </a:p>
            <a:p>
              <a:pPr defTabSz="548640">
                <a:lnSpc>
                  <a:spcPts val="1752"/>
                </a:lnSpc>
              </a:pP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execution and </a:t>
              </a:r>
            </a:p>
            <a:p>
              <a:pPr defTabSz="548640">
                <a:lnSpc>
                  <a:spcPts val="1752"/>
                </a:lnSpc>
              </a:pP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innovation</a:t>
              </a:r>
            </a:p>
          </p:txBody>
        </p:sp>
        <p:pic>
          <p:nvPicPr>
            <p:cNvPr id="3" name="Picture 2" descr="Hands-20.eps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3801" y="2551163"/>
              <a:ext cx="1113400" cy="698604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2454412" y="1894839"/>
            <a:ext cx="3737671" cy="5768898"/>
            <a:chOff x="5576500" y="1579032"/>
            <a:chExt cx="3114726" cy="4807415"/>
          </a:xfrm>
        </p:grpSpPr>
        <p:pic>
          <p:nvPicPr>
            <p:cNvPr id="15" name="Picture 14" descr="KO_Logo-04.eps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67935" y="1579032"/>
              <a:ext cx="2765125" cy="581554"/>
            </a:xfrm>
            <a:prstGeom prst="rect">
              <a:avLst/>
            </a:prstGeom>
          </p:spPr>
        </p:pic>
        <p:pic>
          <p:nvPicPr>
            <p:cNvPr id="16" name="Picture 15" descr="Assets-03.eps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26797" y="2247534"/>
              <a:ext cx="993380" cy="1120604"/>
            </a:xfrm>
            <a:prstGeom prst="rect">
              <a:avLst/>
            </a:prstGeom>
          </p:spPr>
        </p:pic>
        <p:sp>
          <p:nvSpPr>
            <p:cNvPr id="32" name="TextBox 31"/>
            <p:cNvSpPr txBox="1"/>
            <p:nvPr/>
          </p:nvSpPr>
          <p:spPr>
            <a:xfrm>
              <a:off x="7124188" y="5733198"/>
              <a:ext cx="1309387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3000" b="1" dirty="0">
                  <a:solidFill>
                    <a:srgbClr val="BC0D21"/>
                  </a:solidFill>
                  <a:latin typeface="Arial"/>
                </a:rPr>
                <a:t>130,600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7304522" y="6109448"/>
              <a:ext cx="95672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1560" dirty="0">
                  <a:solidFill>
                    <a:prstClr val="white">
                      <a:lumMod val="50000"/>
                    </a:prstClr>
                  </a:solidFill>
                  <a:latin typeface="Arial"/>
                </a:rPr>
                <a:t>employees</a:t>
              </a:r>
            </a:p>
          </p:txBody>
        </p:sp>
        <p:pic>
          <p:nvPicPr>
            <p:cNvPr id="34" name="Picture 33" descr="employees-06.eps"/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08203" y="4829824"/>
              <a:ext cx="936393" cy="930203"/>
            </a:xfrm>
            <a:prstGeom prst="rect">
              <a:avLst/>
            </a:prstGeom>
          </p:spPr>
        </p:pic>
        <p:pic>
          <p:nvPicPr>
            <p:cNvPr id="35" name="Picture 34" descr="Globe-07.eps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30926" y="4841451"/>
              <a:ext cx="948438" cy="940673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6062269" y="5747505"/>
              <a:ext cx="6868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3000" b="1" dirty="0">
                  <a:solidFill>
                    <a:srgbClr val="BC0D21"/>
                  </a:solidFill>
                  <a:latin typeface="Arial"/>
                </a:rPr>
                <a:t>200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5576500" y="6075714"/>
              <a:ext cx="1615293" cy="29121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>
                <a:lnSpc>
                  <a:spcPts val="2232"/>
                </a:lnSpc>
              </a:pPr>
              <a:r>
                <a:rPr lang="en-US" sz="1560" dirty="0">
                  <a:solidFill>
                    <a:prstClr val="white">
                      <a:lumMod val="50000"/>
                    </a:prstClr>
                  </a:solidFill>
                  <a:latin typeface="Arial"/>
                </a:rPr>
                <a:t>countries worldwide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935670" y="2551163"/>
              <a:ext cx="1105003" cy="5386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/>
              <a:r>
                <a:rPr lang="en-US" sz="1800" b="1" dirty="0">
                  <a:solidFill>
                    <a:srgbClr val="BC0D21"/>
                  </a:solidFill>
                  <a:latin typeface="Arial"/>
                </a:rPr>
                <a:t>Consumer</a:t>
              </a:r>
            </a:p>
            <a:p>
              <a:pPr defTabSz="548640"/>
              <a:r>
                <a:rPr lang="en-US" sz="1800" b="1" dirty="0">
                  <a:solidFill>
                    <a:srgbClr val="BC0D21"/>
                  </a:solidFill>
                  <a:latin typeface="Arial"/>
                </a:rPr>
                <a:t>focus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935670" y="3574522"/>
              <a:ext cx="1755556" cy="10256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48640">
                <a:lnSpc>
                  <a:spcPts val="1752"/>
                </a:lnSpc>
              </a:pP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Brand ownership, </a:t>
              </a:r>
            </a:p>
            <a:p>
              <a:pPr defTabSz="548640">
                <a:lnSpc>
                  <a:spcPts val="1752"/>
                </a:lnSpc>
              </a:pP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product development </a:t>
              </a:r>
              <a:br>
                <a:rPr lang="en-US" sz="1440" b="1" dirty="0">
                  <a:solidFill>
                    <a:srgbClr val="BC0D21"/>
                  </a:solidFill>
                  <a:latin typeface="Arial"/>
                </a:rPr>
              </a:b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and innovation; </a:t>
              </a:r>
              <a:br>
                <a:rPr lang="en-US" sz="1440" b="1" dirty="0">
                  <a:solidFill>
                    <a:srgbClr val="BC0D21"/>
                  </a:solidFill>
                  <a:latin typeface="Arial"/>
                </a:rPr>
              </a:b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brand marketing </a:t>
              </a:r>
              <a:br>
                <a:rPr lang="en-US" sz="1440" b="1" dirty="0">
                  <a:solidFill>
                    <a:srgbClr val="BC0D21"/>
                  </a:solidFill>
                  <a:latin typeface="Arial"/>
                </a:rPr>
              </a:br>
              <a:r>
                <a:rPr lang="en-US" sz="1440" b="1" dirty="0">
                  <a:solidFill>
                    <a:srgbClr val="BC0D21"/>
                  </a:solidFill>
                  <a:latin typeface="Arial"/>
                </a:rPr>
                <a:t>and advertising</a:t>
              </a:r>
            </a:p>
          </p:txBody>
        </p:sp>
        <p:pic>
          <p:nvPicPr>
            <p:cNvPr id="4" name="Picture 3" descr="Lightbulb-21.eps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46255" y="3498369"/>
              <a:ext cx="1073921" cy="1171311"/>
            </a:xfrm>
            <a:prstGeom prst="rect">
              <a:avLst/>
            </a:prstGeom>
          </p:spPr>
        </p:pic>
      </p:grpSp>
      <p:pic>
        <p:nvPicPr>
          <p:cNvPr id="6" name="Picture 5" descr="Bubbles-35.eps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1362" y="1050288"/>
            <a:ext cx="1158240" cy="1689101"/>
          </a:xfrm>
          <a:prstGeom prst="rect">
            <a:avLst/>
          </a:prstGeom>
        </p:spPr>
      </p:pic>
      <p:pic>
        <p:nvPicPr>
          <p:cNvPr id="9" name="Picture 8" descr="Bubbles-38.eps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6400" y="6930259"/>
            <a:ext cx="1143000" cy="1341120"/>
          </a:xfrm>
          <a:prstGeom prst="rect">
            <a:avLst/>
          </a:prstGeom>
        </p:spPr>
      </p:pic>
      <p:sp>
        <p:nvSpPr>
          <p:cNvPr id="42" name="TextBox 41"/>
          <p:cNvSpPr txBox="1"/>
          <p:nvPr/>
        </p:nvSpPr>
        <p:spPr>
          <a:xfrm>
            <a:off x="12248106" y="7639193"/>
            <a:ext cx="287258" cy="3139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548640"/>
            <a:r>
              <a:rPr lang="en-US" sz="1440" dirty="0">
                <a:solidFill>
                  <a:prstClr val="white">
                    <a:lumMod val="50000"/>
                  </a:prstClr>
                </a:solidFill>
                <a:latin typeface="Arial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0091756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307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307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 hidden="1"/>
          <p:cNvSpPr/>
          <p:nvPr>
            <p:custDataLst>
              <p:tags r:id="rId3"/>
            </p:custDataLst>
          </p:nvPr>
        </p:nvSpPr>
        <p:spPr>
          <a:xfrm>
            <a:off x="1828800" y="0"/>
            <a:ext cx="190500" cy="190500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1097280">
              <a:spcBef>
                <a:spcPct val="0"/>
              </a:spcBef>
              <a:spcAft>
                <a:spcPct val="0"/>
              </a:spcAft>
              <a:defRPr/>
            </a:pPr>
            <a:endParaRPr lang="en-GB" sz="300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91565"/>
            <a:ext cx="11353800" cy="950596"/>
          </a:xfrm>
        </p:spPr>
        <p:txBody>
          <a:bodyPr>
            <a:noAutofit/>
          </a:bodyPr>
          <a:lstStyle/>
          <a:p>
            <a:r>
              <a:rPr lang="en-GB" sz="3600" b="1" dirty="0"/>
              <a:t>Our Finance Leadership Team, which leads ~1,300 associates across 13 countries</a:t>
            </a:r>
          </a:p>
        </p:txBody>
      </p:sp>
      <p:cxnSp>
        <p:nvCxnSpPr>
          <p:cNvPr id="5" name="Elbow Connector 4"/>
          <p:cNvCxnSpPr>
            <a:stCxn id="22" idx="0"/>
          </p:cNvCxnSpPr>
          <p:nvPr/>
        </p:nvCxnSpPr>
        <p:spPr>
          <a:xfrm rot="5400000" flipH="1" flipV="1">
            <a:off x="5197083" y="1264709"/>
            <a:ext cx="244331" cy="3795418"/>
          </a:xfrm>
          <a:prstGeom prst="bentConnector2">
            <a:avLst/>
          </a:prstGeom>
          <a:ln w="19050" cap="rnd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ounded Rectangle 5"/>
          <p:cNvSpPr/>
          <p:nvPr/>
        </p:nvSpPr>
        <p:spPr>
          <a:xfrm>
            <a:off x="2562673" y="3921837"/>
            <a:ext cx="1750782" cy="599545"/>
          </a:xfrm>
          <a:prstGeom prst="round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Ed Walker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Financial Planning &amp; Analysis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2562671" y="5938506"/>
            <a:ext cx="1750782" cy="599545"/>
          </a:xfrm>
          <a:prstGeom prst="round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Sarah Willett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Investor Relation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562673" y="5263616"/>
            <a:ext cx="1750782" cy="599545"/>
          </a:xfrm>
          <a:prstGeom prst="round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Rogier Rolink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Tax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2562673" y="4598820"/>
            <a:ext cx="1750782" cy="599546"/>
          </a:xfrm>
          <a:prstGeom prst="round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Scott Bourgeois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Financial Controller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4536544" y="3946538"/>
            <a:ext cx="1750782" cy="599545"/>
          </a:xfrm>
          <a:prstGeom prst="round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Torsten Hoppe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562673" y="6613468"/>
            <a:ext cx="1750782" cy="599545"/>
          </a:xfrm>
          <a:prstGeom prst="round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Cigdem Gures Erden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Treasury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527997" y="3308360"/>
            <a:ext cx="1750782" cy="59954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40" b="1" dirty="0">
                <a:solidFill>
                  <a:srgbClr val="FEFFFF"/>
                </a:solidFill>
                <a:latin typeface="Arial"/>
              </a:rPr>
              <a:t>Corporate Audit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10832351" y="3280004"/>
            <a:ext cx="1750782" cy="59954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40" b="1" dirty="0">
                <a:solidFill>
                  <a:srgbClr val="FEFFFF"/>
                </a:solidFill>
                <a:latin typeface="Arial"/>
              </a:rPr>
              <a:t>Business Partners</a:t>
            </a:r>
          </a:p>
        </p:txBody>
      </p:sp>
      <p:cxnSp>
        <p:nvCxnSpPr>
          <p:cNvPr id="14" name="Elbow Connector 13"/>
          <p:cNvCxnSpPr>
            <a:stCxn id="13" idx="0"/>
          </p:cNvCxnSpPr>
          <p:nvPr/>
        </p:nvCxnSpPr>
        <p:spPr>
          <a:xfrm rot="16200000" flipV="1">
            <a:off x="9342474" y="914735"/>
            <a:ext cx="239753" cy="4490784"/>
          </a:xfrm>
          <a:prstGeom prst="bentConnector2">
            <a:avLst/>
          </a:prstGeom>
          <a:ln w="19050" cap="rnd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997733" y="2396040"/>
            <a:ext cx="2438446" cy="538178"/>
          </a:xfrm>
          <a:prstGeom prst="rect">
            <a:avLst/>
          </a:prstGeom>
        </p:spPr>
        <p:txBody>
          <a:bodyPr vert="horz" wrap="square" lIns="109728" tIns="54864" rIns="109728" bIns="54864" rtlCol="0">
            <a:noAutofit/>
          </a:bodyPr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80" b="1" dirty="0">
                <a:solidFill>
                  <a:srgbClr val="000000"/>
                </a:solidFill>
                <a:latin typeface="Arial"/>
                <a:ea typeface="ＭＳ Ｐゴシック" charset="0"/>
              </a:rPr>
              <a:t>Nik Jhangiani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40" b="1" dirty="0">
                <a:solidFill>
                  <a:srgbClr val="000000"/>
                </a:solidFill>
                <a:latin typeface="Arial"/>
                <a:ea typeface="ＭＳ Ｐゴシック" charset="0"/>
              </a:rPr>
              <a:t>Chief Financial Officer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10832348" y="5914255"/>
            <a:ext cx="1750782" cy="599545"/>
          </a:xfrm>
          <a:prstGeom prst="roundRect">
            <a:avLst/>
          </a:prstGeom>
          <a:solidFill>
            <a:srgbClr val="EE00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Florian Tornow 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France BU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10832351" y="3913786"/>
            <a:ext cx="1750782" cy="599545"/>
          </a:xfrm>
          <a:prstGeom prst="roundRect">
            <a:avLst/>
          </a:prstGeom>
          <a:solidFill>
            <a:srgbClr val="EE00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Marcus Rohde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Germany BU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10832349" y="5243013"/>
            <a:ext cx="1750782" cy="599545"/>
          </a:xfrm>
          <a:prstGeom prst="roundRect">
            <a:avLst/>
          </a:prstGeom>
          <a:solidFill>
            <a:srgbClr val="EE000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T.J. Wolfe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Great Britain BU</a:t>
            </a:r>
            <a:endParaRPr lang="en-GB" sz="1260" b="1" dirty="0">
              <a:solidFill>
                <a:srgbClr val="FEFFFF"/>
              </a:solidFill>
              <a:latin typeface="Arial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0832350" y="4584202"/>
            <a:ext cx="1750782" cy="599545"/>
          </a:xfrm>
          <a:prstGeom prst="round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Albert Perez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Iberia BU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10832347" y="6578403"/>
            <a:ext cx="1750782" cy="574687"/>
          </a:xfrm>
          <a:prstGeom prst="round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Frits van Zijdervelt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Northern Europe BU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6737693" y="3946538"/>
            <a:ext cx="1750782" cy="599545"/>
          </a:xfrm>
          <a:prstGeom prst="round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Tamsin Hoborough</a:t>
            </a:r>
            <a:endParaRPr lang="en-GB" sz="1200" b="1" dirty="0">
              <a:solidFill>
                <a:srgbClr val="FEFFFF"/>
              </a:solidFill>
              <a:latin typeface="Arial"/>
            </a:endParaRPr>
          </a:p>
        </p:txBody>
      </p:sp>
      <p:sp>
        <p:nvSpPr>
          <p:cNvPr id="22" name="Rounded Rectangle 21"/>
          <p:cNvSpPr/>
          <p:nvPr/>
        </p:nvSpPr>
        <p:spPr>
          <a:xfrm>
            <a:off x="2546147" y="3284583"/>
            <a:ext cx="1750782" cy="59954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40" b="1" dirty="0">
                <a:solidFill>
                  <a:srgbClr val="FEFFFF"/>
                </a:solidFill>
                <a:latin typeface="Arial"/>
              </a:rPr>
              <a:t>Corporate Finance</a:t>
            </a:r>
          </a:p>
        </p:txBody>
      </p:sp>
      <p:sp>
        <p:nvSpPr>
          <p:cNvPr id="23" name="Rounded Rectangle 22"/>
          <p:cNvSpPr/>
          <p:nvPr/>
        </p:nvSpPr>
        <p:spPr>
          <a:xfrm>
            <a:off x="6729143" y="3307632"/>
            <a:ext cx="1750782" cy="59954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40" b="1" dirty="0">
                <a:solidFill>
                  <a:srgbClr val="FEFFFF"/>
                </a:solidFill>
                <a:latin typeface="Arial"/>
              </a:rPr>
              <a:t>Shared Services</a:t>
            </a:r>
          </a:p>
        </p:txBody>
      </p:sp>
      <p:cxnSp>
        <p:nvCxnSpPr>
          <p:cNvPr id="25" name="Elbow Connector 24"/>
          <p:cNvCxnSpPr>
            <a:cxnSpLocks/>
            <a:stCxn id="12" idx="0"/>
          </p:cNvCxnSpPr>
          <p:nvPr/>
        </p:nvCxnSpPr>
        <p:spPr>
          <a:xfrm rot="5400000" flipH="1" flipV="1">
            <a:off x="6175755" y="2267160"/>
            <a:ext cx="268835" cy="1813568"/>
          </a:xfrm>
          <a:prstGeom prst="bentConnector2">
            <a:avLst/>
          </a:prstGeom>
          <a:ln w="19050" cap="rnd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Elbow Connector 25"/>
          <p:cNvCxnSpPr>
            <a:stCxn id="23" idx="0"/>
          </p:cNvCxnSpPr>
          <p:nvPr/>
        </p:nvCxnSpPr>
        <p:spPr>
          <a:xfrm rot="16200000" flipV="1">
            <a:off x="6922886" y="2625982"/>
            <a:ext cx="272686" cy="1090612"/>
          </a:xfrm>
          <a:prstGeom prst="bentConnector2">
            <a:avLst/>
          </a:prstGeom>
          <a:ln w="19050" cap="rnd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EB58CDEC-52A2-4FB9-A7CD-176B3D39F60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98" r="17014" b="54227"/>
          <a:stretch/>
        </p:blipFill>
        <p:spPr>
          <a:xfrm>
            <a:off x="6489317" y="1297371"/>
            <a:ext cx="1455278" cy="1059308"/>
          </a:xfrm>
          <a:prstGeom prst="rect">
            <a:avLst/>
          </a:prstGeom>
        </p:spPr>
      </p:pic>
      <p:sp>
        <p:nvSpPr>
          <p:cNvPr id="29" name="Rounded Rectangle 26">
            <a:extLst>
              <a:ext uri="{FF2B5EF4-FFF2-40B4-BE49-F238E27FC236}">
                <a16:creationId xmlns:a16="http://schemas.microsoft.com/office/drawing/2014/main" id="{47413A01-23FC-47BD-B932-83EFAEBA6272}"/>
              </a:ext>
            </a:extLst>
          </p:cNvPr>
          <p:cNvSpPr/>
          <p:nvPr/>
        </p:nvSpPr>
        <p:spPr>
          <a:xfrm>
            <a:off x="2562673" y="7290017"/>
            <a:ext cx="1750782" cy="799625"/>
          </a:xfrm>
          <a:prstGeom prst="roundRect">
            <a:avLst/>
          </a:prstGeom>
          <a:solidFill>
            <a:srgbClr val="F4000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Mike Clark</a:t>
            </a:r>
          </a:p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rgbClr val="FEFFFF"/>
                </a:solidFill>
                <a:latin typeface="Arial"/>
              </a:rPr>
              <a:t>Enterprise Performance Reporting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8780747" y="3280004"/>
            <a:ext cx="1750782" cy="599545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40" b="1" dirty="0">
                <a:solidFill>
                  <a:srgbClr val="FEFFFF"/>
                </a:solidFill>
                <a:latin typeface="Arial"/>
              </a:rPr>
              <a:t>Procurement</a:t>
            </a:r>
          </a:p>
        </p:txBody>
      </p:sp>
      <p:sp>
        <p:nvSpPr>
          <p:cNvPr id="34" name="Rounded Rectangle 33"/>
          <p:cNvSpPr/>
          <p:nvPr/>
        </p:nvSpPr>
        <p:spPr>
          <a:xfrm>
            <a:off x="8780746" y="3947755"/>
            <a:ext cx="1750782" cy="599545"/>
          </a:xfrm>
          <a:prstGeom prst="roundRect">
            <a:avLst/>
          </a:prstGeom>
          <a:solidFill>
            <a:srgbClr val="EE000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4864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320" b="1" dirty="0">
                <a:solidFill>
                  <a:srgbClr val="FEFFFF"/>
                </a:solidFill>
                <a:latin typeface="Arial"/>
              </a:rPr>
              <a:t>Ralf Peters</a:t>
            </a:r>
            <a:endParaRPr lang="en-GB" sz="1200" b="1" dirty="0">
              <a:solidFill>
                <a:srgbClr val="FE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35370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202" y="91440"/>
            <a:ext cx="11185797" cy="950596"/>
          </a:xfrm>
        </p:spPr>
        <p:txBody>
          <a:bodyPr>
            <a:normAutofit fontScale="90000"/>
          </a:bodyPr>
          <a:lstStyle/>
          <a:p>
            <a:r>
              <a:rPr lang="en-GB" sz="4000" b="1" dirty="0"/>
              <a:t>Our “Finance Service Delivery” Model sets the foundation for our transformation roadmap</a:t>
            </a:r>
            <a:br>
              <a:rPr lang="en-GB" sz="3360" dirty="0"/>
            </a:br>
            <a:endParaRPr lang="en-GB" dirty="0"/>
          </a:p>
        </p:txBody>
      </p:sp>
      <p:sp>
        <p:nvSpPr>
          <p:cNvPr id="18" name="Rectangle 17"/>
          <p:cNvSpPr/>
          <p:nvPr/>
        </p:nvSpPr>
        <p:spPr>
          <a:xfrm>
            <a:off x="2598271" y="2378045"/>
            <a:ext cx="4631003" cy="1133159"/>
          </a:xfrm>
          <a:prstGeom prst="rect">
            <a:avLst/>
          </a:prstGeom>
          <a:solidFill>
            <a:srgbClr val="B3B3B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166400" tIns="32766" rIns="32766" bIns="32766" rtlCol="0" anchor="ctr"/>
          <a:lstStyle/>
          <a:p>
            <a:pPr algn="ctr" defTabSz="1097280">
              <a:defRPr/>
            </a:pPr>
            <a:r>
              <a:rPr lang="en-GB" sz="168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Business Performance </a:t>
            </a:r>
          </a:p>
          <a:p>
            <a:pPr algn="ctr" defTabSz="1097280">
              <a:defRPr/>
            </a:pPr>
            <a:r>
              <a:rPr lang="en-GB" sz="168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activiti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363394" y="2404257"/>
            <a:ext cx="4923360" cy="1116685"/>
          </a:xfrm>
          <a:prstGeom prst="rect">
            <a:avLst/>
          </a:prstGeom>
          <a:solidFill>
            <a:srgbClr val="B3B3B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09600" tIns="32766" rIns="32766" bIns="32766" rtlCol="0" anchor="ctr"/>
          <a:lstStyle/>
          <a:p>
            <a:pPr algn="ctr" defTabSz="1097280">
              <a:defRPr/>
            </a:pPr>
            <a:r>
              <a:rPr lang="en-GB" sz="168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Local Planning &amp; Performance Management activiti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598269" y="3641025"/>
            <a:ext cx="4631003" cy="1128650"/>
          </a:xfrm>
          <a:prstGeom prst="rect">
            <a:avLst/>
          </a:prstGeom>
          <a:solidFill>
            <a:srgbClr val="B3B3B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166400" tIns="32766" rIns="32766" bIns="32766" rtlCol="0" anchor="ctr"/>
          <a:lstStyle/>
          <a:p>
            <a:pPr algn="ctr" defTabSz="1097280">
              <a:defRPr/>
            </a:pPr>
            <a:r>
              <a:rPr lang="en-GB" sz="168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Transactional &amp; Compliance activiti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7363394" y="3605623"/>
            <a:ext cx="4923360" cy="1145694"/>
          </a:xfrm>
          <a:prstGeom prst="rect">
            <a:avLst/>
          </a:prstGeom>
          <a:solidFill>
            <a:srgbClr val="B3B3B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209600" tIns="32766" rIns="32766" bIns="32766" rtlCol="0" anchor="ctr"/>
          <a:lstStyle/>
          <a:p>
            <a:pPr algn="ctr" defTabSz="1097280">
              <a:defRPr/>
            </a:pPr>
            <a:r>
              <a:rPr lang="en-GB" sz="168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Central Planning &amp; Performance Management activitie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98269" y="4892117"/>
            <a:ext cx="9688486" cy="1241167"/>
          </a:xfrm>
          <a:prstGeom prst="rect">
            <a:avLst/>
          </a:prstGeom>
          <a:solidFill>
            <a:srgbClr val="B3B3B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1166400" rtlCol="0" anchor="ctr"/>
          <a:lstStyle/>
          <a:p>
            <a:pPr algn="ctr" defTabSz="1097280">
              <a:defRPr/>
            </a:pPr>
            <a:r>
              <a:rPr lang="en-GB" sz="168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Technical Finance &amp; Governance activities</a:t>
            </a:r>
          </a:p>
        </p:txBody>
      </p:sp>
      <p:sp>
        <p:nvSpPr>
          <p:cNvPr id="23" name="Content Placeholder 6"/>
          <p:cNvSpPr txBox="1">
            <a:spLocks/>
          </p:cNvSpPr>
          <p:nvPr/>
        </p:nvSpPr>
        <p:spPr>
          <a:xfrm>
            <a:off x="3107765" y="6555915"/>
            <a:ext cx="8947176" cy="638998"/>
          </a:xfrm>
          <a:prstGeom prst="rect">
            <a:avLst/>
          </a:prstGeom>
        </p:spPr>
        <p:txBody>
          <a:bodyPr lIns="0" tIns="0" rIns="0" bIns="0">
            <a:normAutofit fontScale="85000" lnSpcReduction="10000"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5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14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822960">
              <a:lnSpc>
                <a:spcPct val="100000"/>
              </a:lnSpc>
              <a:spcBef>
                <a:spcPts val="900"/>
              </a:spcBef>
              <a:defRPr/>
            </a:pPr>
            <a:r>
              <a:rPr lang="en-GB" sz="2160" b="1" dirty="0">
                <a:solidFill>
                  <a:sysClr val="windowText" lastClr="000000"/>
                </a:solidFill>
                <a:latin typeface="Gotham Book"/>
              </a:rPr>
              <a:t>We believe this delivery model will allow us to achieve world class levels of efficiency and effectiveness, while supporting our growth ambition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578622" y="1738135"/>
            <a:ext cx="4708133" cy="51558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rtlCol="0" anchor="t"/>
          <a:lstStyle/>
          <a:p>
            <a:pPr algn="ctr" defTabSz="823070">
              <a:spcAft>
                <a:spcPct val="40000"/>
              </a:spcAft>
              <a:defRPr/>
            </a:pPr>
            <a:r>
              <a:rPr lang="en-US" sz="1680" b="1" kern="0" dirty="0">
                <a:solidFill>
                  <a:prstClr val="black"/>
                </a:solidFill>
                <a:latin typeface="Gotham Medium" panose="02000604030000020004" pitchFamily="50" charset="0"/>
                <a:ea typeface="ＭＳ Ｐゴシック" pitchFamily="31" charset="-128"/>
                <a:cs typeface="Helvetica" panose="020B0604020202020204" pitchFamily="34" charset="0"/>
              </a:rPr>
              <a:t>HIGH LEVEL OF </a:t>
            </a:r>
            <a:br>
              <a:rPr lang="en-US" sz="1680" b="1" kern="0" dirty="0">
                <a:solidFill>
                  <a:prstClr val="black"/>
                </a:solidFill>
                <a:latin typeface="Gotham Medium" panose="02000604030000020004" pitchFamily="50" charset="0"/>
                <a:ea typeface="ＭＳ Ｐゴシック" pitchFamily="31" charset="-128"/>
                <a:cs typeface="Helvetica" panose="020B0604020202020204" pitchFamily="34" charset="0"/>
              </a:rPr>
            </a:br>
            <a:r>
              <a:rPr lang="en-US" sz="1680" b="1" kern="0" dirty="0">
                <a:solidFill>
                  <a:prstClr val="black"/>
                </a:solidFill>
                <a:latin typeface="Gotham Medium" panose="02000604030000020004" pitchFamily="50" charset="0"/>
                <a:ea typeface="ＭＳ Ｐゴシック" pitchFamily="31" charset="-128"/>
                <a:cs typeface="Helvetica" panose="020B0604020202020204" pitchFamily="34" charset="0"/>
              </a:rPr>
              <a:t>BUSINESS PROXIMITY REQUIRED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598269" y="1738135"/>
            <a:ext cx="4523258" cy="51558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rtlCol="0" anchor="t"/>
          <a:lstStyle/>
          <a:p>
            <a:pPr algn="ctr" defTabSz="823070">
              <a:spcAft>
                <a:spcPct val="40000"/>
              </a:spcAft>
              <a:defRPr/>
            </a:pPr>
            <a:r>
              <a:rPr lang="en-US" sz="1680" b="1" kern="0" dirty="0">
                <a:solidFill>
                  <a:srgbClr val="F40009"/>
                </a:solidFill>
                <a:latin typeface="Gotham Medium" panose="02000604030000020004" pitchFamily="50" charset="0"/>
                <a:ea typeface="ＭＳ Ｐゴシック" pitchFamily="31" charset="-128"/>
                <a:cs typeface="Helvetica" panose="020B0604020202020204" pitchFamily="34" charset="0"/>
              </a:rPr>
              <a:t>LOW LEVEL OF</a:t>
            </a:r>
            <a:br>
              <a:rPr lang="en-US" sz="1680" b="1" kern="0" dirty="0">
                <a:solidFill>
                  <a:srgbClr val="F40009"/>
                </a:solidFill>
                <a:latin typeface="Gotham Medium" panose="02000604030000020004" pitchFamily="50" charset="0"/>
                <a:ea typeface="ＭＳ Ｐゴシック" pitchFamily="31" charset="-128"/>
                <a:cs typeface="Helvetica" panose="020B0604020202020204" pitchFamily="34" charset="0"/>
              </a:rPr>
            </a:br>
            <a:r>
              <a:rPr lang="en-US" sz="1680" b="1" kern="0" dirty="0">
                <a:solidFill>
                  <a:srgbClr val="F40009"/>
                </a:solidFill>
                <a:latin typeface="Gotham Medium" panose="02000604030000020004" pitchFamily="50" charset="0"/>
                <a:ea typeface="ＭＳ Ｐゴシック" pitchFamily="31" charset="-128"/>
                <a:cs typeface="Helvetica" panose="020B0604020202020204" pitchFamily="34" charset="0"/>
              </a:rPr>
              <a:t>BUSINESS PROXIMITY REQUIRED</a:t>
            </a:r>
          </a:p>
        </p:txBody>
      </p:sp>
      <p:sp>
        <p:nvSpPr>
          <p:cNvPr id="26" name="Freeform 25"/>
          <p:cNvSpPr>
            <a:spLocks noChangeAspect="1"/>
          </p:cNvSpPr>
          <p:nvPr/>
        </p:nvSpPr>
        <p:spPr bwMode="auto">
          <a:xfrm>
            <a:off x="2625113" y="2378931"/>
            <a:ext cx="1082994" cy="1082995"/>
          </a:xfrm>
          <a:custGeom>
            <a:avLst/>
            <a:gdLst>
              <a:gd name="T0" fmla="*/ 3892 w 4072"/>
              <a:gd name="T1" fmla="*/ 1741 h 4072"/>
              <a:gd name="T2" fmla="*/ 3986 w 4072"/>
              <a:gd name="T3" fmla="*/ 1450 h 4072"/>
              <a:gd name="T4" fmla="*/ 3958 w 4072"/>
              <a:gd name="T5" fmla="*/ 1363 h 4072"/>
              <a:gd name="T6" fmla="*/ 3711 w 4072"/>
              <a:gd name="T7" fmla="*/ 1184 h 4072"/>
              <a:gd name="T8" fmla="*/ 3710 w 4072"/>
              <a:gd name="T9" fmla="*/ 876 h 4072"/>
              <a:gd name="T10" fmla="*/ 3656 w 4072"/>
              <a:gd name="T11" fmla="*/ 802 h 4072"/>
              <a:gd name="T12" fmla="*/ 3366 w 4072"/>
              <a:gd name="T13" fmla="*/ 708 h 4072"/>
              <a:gd name="T14" fmla="*/ 3270 w 4072"/>
              <a:gd name="T15" fmla="*/ 416 h 4072"/>
              <a:gd name="T16" fmla="*/ 3196 w 4072"/>
              <a:gd name="T17" fmla="*/ 362 h 4072"/>
              <a:gd name="T18" fmla="*/ 2890 w 4072"/>
              <a:gd name="T19" fmla="*/ 362 h 4072"/>
              <a:gd name="T20" fmla="*/ 2709 w 4072"/>
              <a:gd name="T21" fmla="*/ 114 h 4072"/>
              <a:gd name="T22" fmla="*/ 2622 w 4072"/>
              <a:gd name="T23" fmla="*/ 86 h 4072"/>
              <a:gd name="T24" fmla="*/ 2331 w 4072"/>
              <a:gd name="T25" fmla="*/ 180 h 4072"/>
              <a:gd name="T26" fmla="*/ 2082 w 4072"/>
              <a:gd name="T27" fmla="*/ 0 h 4072"/>
              <a:gd name="T28" fmla="*/ 1990 w 4072"/>
              <a:gd name="T29" fmla="*/ 0 h 4072"/>
              <a:gd name="T30" fmla="*/ 1743 w 4072"/>
              <a:gd name="T31" fmla="*/ 179 h 4072"/>
              <a:gd name="T32" fmla="*/ 1450 w 4072"/>
              <a:gd name="T33" fmla="*/ 86 h 4072"/>
              <a:gd name="T34" fmla="*/ 1363 w 4072"/>
              <a:gd name="T35" fmla="*/ 114 h 4072"/>
              <a:gd name="T36" fmla="*/ 1184 w 4072"/>
              <a:gd name="T37" fmla="*/ 361 h 4072"/>
              <a:gd name="T38" fmla="*/ 876 w 4072"/>
              <a:gd name="T39" fmla="*/ 362 h 4072"/>
              <a:gd name="T40" fmla="*/ 802 w 4072"/>
              <a:gd name="T41" fmla="*/ 416 h 4072"/>
              <a:gd name="T42" fmla="*/ 708 w 4072"/>
              <a:gd name="T43" fmla="*/ 706 h 4072"/>
              <a:gd name="T44" fmla="*/ 416 w 4072"/>
              <a:gd name="T45" fmla="*/ 802 h 4072"/>
              <a:gd name="T46" fmla="*/ 362 w 4072"/>
              <a:gd name="T47" fmla="*/ 876 h 4072"/>
              <a:gd name="T48" fmla="*/ 362 w 4072"/>
              <a:gd name="T49" fmla="*/ 1182 h 4072"/>
              <a:gd name="T50" fmla="*/ 114 w 4072"/>
              <a:gd name="T51" fmla="*/ 1363 h 4072"/>
              <a:gd name="T52" fmla="*/ 86 w 4072"/>
              <a:gd name="T53" fmla="*/ 1450 h 4072"/>
              <a:gd name="T54" fmla="*/ 180 w 4072"/>
              <a:gd name="T55" fmla="*/ 1741 h 4072"/>
              <a:gd name="T56" fmla="*/ 0 w 4072"/>
              <a:gd name="T57" fmla="*/ 1990 h 4072"/>
              <a:gd name="T58" fmla="*/ 0 w 4072"/>
              <a:gd name="T59" fmla="*/ 2082 h 4072"/>
              <a:gd name="T60" fmla="*/ 179 w 4072"/>
              <a:gd name="T61" fmla="*/ 2329 h 4072"/>
              <a:gd name="T62" fmla="*/ 86 w 4072"/>
              <a:gd name="T63" fmla="*/ 2622 h 4072"/>
              <a:gd name="T64" fmla="*/ 114 w 4072"/>
              <a:gd name="T65" fmla="*/ 2709 h 4072"/>
              <a:gd name="T66" fmla="*/ 362 w 4072"/>
              <a:gd name="T67" fmla="*/ 2890 h 4072"/>
              <a:gd name="T68" fmla="*/ 362 w 4072"/>
              <a:gd name="T69" fmla="*/ 3196 h 4072"/>
              <a:gd name="T70" fmla="*/ 416 w 4072"/>
              <a:gd name="T71" fmla="*/ 3270 h 4072"/>
              <a:gd name="T72" fmla="*/ 708 w 4072"/>
              <a:gd name="T73" fmla="*/ 3366 h 4072"/>
              <a:gd name="T74" fmla="*/ 802 w 4072"/>
              <a:gd name="T75" fmla="*/ 3656 h 4072"/>
              <a:gd name="T76" fmla="*/ 876 w 4072"/>
              <a:gd name="T77" fmla="*/ 3710 h 4072"/>
              <a:gd name="T78" fmla="*/ 1184 w 4072"/>
              <a:gd name="T79" fmla="*/ 3711 h 4072"/>
              <a:gd name="T80" fmla="*/ 1363 w 4072"/>
              <a:gd name="T81" fmla="*/ 3958 h 4072"/>
              <a:gd name="T82" fmla="*/ 1450 w 4072"/>
              <a:gd name="T83" fmla="*/ 3987 h 4072"/>
              <a:gd name="T84" fmla="*/ 1743 w 4072"/>
              <a:gd name="T85" fmla="*/ 3893 h 4072"/>
              <a:gd name="T86" fmla="*/ 1990 w 4072"/>
              <a:gd name="T87" fmla="*/ 4072 h 4072"/>
              <a:gd name="T88" fmla="*/ 2082 w 4072"/>
              <a:gd name="T89" fmla="*/ 4072 h 4072"/>
              <a:gd name="T90" fmla="*/ 2331 w 4072"/>
              <a:gd name="T91" fmla="*/ 3892 h 4072"/>
              <a:gd name="T92" fmla="*/ 2622 w 4072"/>
              <a:gd name="T93" fmla="*/ 3987 h 4072"/>
              <a:gd name="T94" fmla="*/ 2709 w 4072"/>
              <a:gd name="T95" fmla="*/ 3958 h 4072"/>
              <a:gd name="T96" fmla="*/ 2890 w 4072"/>
              <a:gd name="T97" fmla="*/ 3710 h 4072"/>
              <a:gd name="T98" fmla="*/ 3196 w 4072"/>
              <a:gd name="T99" fmla="*/ 3710 h 4072"/>
              <a:gd name="T100" fmla="*/ 3270 w 4072"/>
              <a:gd name="T101" fmla="*/ 3656 h 4072"/>
              <a:gd name="T102" fmla="*/ 3366 w 4072"/>
              <a:gd name="T103" fmla="*/ 3364 h 4072"/>
              <a:gd name="T104" fmla="*/ 3656 w 4072"/>
              <a:gd name="T105" fmla="*/ 3270 h 4072"/>
              <a:gd name="T106" fmla="*/ 3710 w 4072"/>
              <a:gd name="T107" fmla="*/ 3196 h 4072"/>
              <a:gd name="T108" fmla="*/ 3711 w 4072"/>
              <a:gd name="T109" fmla="*/ 2888 h 4072"/>
              <a:gd name="T110" fmla="*/ 3958 w 4072"/>
              <a:gd name="T111" fmla="*/ 2709 h 4072"/>
              <a:gd name="T112" fmla="*/ 3986 w 4072"/>
              <a:gd name="T113" fmla="*/ 2622 h 4072"/>
              <a:gd name="T114" fmla="*/ 3893 w 4072"/>
              <a:gd name="T115" fmla="*/ 2329 h 4072"/>
              <a:gd name="T116" fmla="*/ 4072 w 4072"/>
              <a:gd name="T117" fmla="*/ 2082 h 4072"/>
              <a:gd name="T118" fmla="*/ 4072 w 4072"/>
              <a:gd name="T119" fmla="*/ 1990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072" h="4072">
                <a:moveTo>
                  <a:pt x="4060" y="1969"/>
                </a:moveTo>
                <a:cubicBezTo>
                  <a:pt x="3904" y="1876"/>
                  <a:pt x="3892" y="1741"/>
                  <a:pt x="3892" y="1741"/>
                </a:cubicBezTo>
                <a:cubicBezTo>
                  <a:pt x="3892" y="1741"/>
                  <a:pt x="3862" y="1611"/>
                  <a:pt x="3982" y="1475"/>
                </a:cubicBezTo>
                <a:cubicBezTo>
                  <a:pt x="3987" y="1468"/>
                  <a:pt x="3989" y="1459"/>
                  <a:pt x="3986" y="1450"/>
                </a:cubicBezTo>
                <a:cubicBezTo>
                  <a:pt x="3972" y="1407"/>
                  <a:pt x="3972" y="1407"/>
                  <a:pt x="3972" y="1407"/>
                </a:cubicBezTo>
                <a:cubicBezTo>
                  <a:pt x="3958" y="1363"/>
                  <a:pt x="3958" y="1363"/>
                  <a:pt x="3958" y="1363"/>
                </a:cubicBezTo>
                <a:cubicBezTo>
                  <a:pt x="3955" y="1355"/>
                  <a:pt x="3949" y="1349"/>
                  <a:pt x="3940" y="1347"/>
                </a:cubicBezTo>
                <a:cubicBezTo>
                  <a:pt x="3763" y="1306"/>
                  <a:pt x="3711" y="1184"/>
                  <a:pt x="3711" y="1184"/>
                </a:cubicBezTo>
                <a:cubicBezTo>
                  <a:pt x="3711" y="1184"/>
                  <a:pt x="3642" y="1067"/>
                  <a:pt x="3713" y="901"/>
                </a:cubicBezTo>
                <a:cubicBezTo>
                  <a:pt x="3716" y="893"/>
                  <a:pt x="3715" y="883"/>
                  <a:pt x="3710" y="876"/>
                </a:cubicBezTo>
                <a:cubicBezTo>
                  <a:pt x="3683" y="839"/>
                  <a:pt x="3683" y="839"/>
                  <a:pt x="3683" y="839"/>
                </a:cubicBezTo>
                <a:cubicBezTo>
                  <a:pt x="3656" y="802"/>
                  <a:pt x="3656" y="802"/>
                  <a:pt x="3656" y="802"/>
                </a:cubicBezTo>
                <a:cubicBezTo>
                  <a:pt x="3651" y="795"/>
                  <a:pt x="3643" y="791"/>
                  <a:pt x="3634" y="792"/>
                </a:cubicBezTo>
                <a:cubicBezTo>
                  <a:pt x="3453" y="808"/>
                  <a:pt x="3366" y="708"/>
                  <a:pt x="3366" y="708"/>
                </a:cubicBezTo>
                <a:cubicBezTo>
                  <a:pt x="3366" y="708"/>
                  <a:pt x="3264" y="619"/>
                  <a:pt x="3280" y="438"/>
                </a:cubicBezTo>
                <a:cubicBezTo>
                  <a:pt x="3281" y="429"/>
                  <a:pt x="3277" y="421"/>
                  <a:pt x="3270" y="416"/>
                </a:cubicBezTo>
                <a:cubicBezTo>
                  <a:pt x="3233" y="389"/>
                  <a:pt x="3233" y="389"/>
                  <a:pt x="3233" y="389"/>
                </a:cubicBezTo>
                <a:cubicBezTo>
                  <a:pt x="3196" y="362"/>
                  <a:pt x="3196" y="362"/>
                  <a:pt x="3196" y="362"/>
                </a:cubicBezTo>
                <a:cubicBezTo>
                  <a:pt x="3189" y="357"/>
                  <a:pt x="3179" y="356"/>
                  <a:pt x="3171" y="359"/>
                </a:cubicBezTo>
                <a:cubicBezTo>
                  <a:pt x="3005" y="430"/>
                  <a:pt x="2890" y="362"/>
                  <a:pt x="2890" y="362"/>
                </a:cubicBezTo>
                <a:cubicBezTo>
                  <a:pt x="2890" y="362"/>
                  <a:pt x="2766" y="309"/>
                  <a:pt x="2725" y="132"/>
                </a:cubicBezTo>
                <a:cubicBezTo>
                  <a:pt x="2723" y="123"/>
                  <a:pt x="2717" y="117"/>
                  <a:pt x="2709" y="114"/>
                </a:cubicBezTo>
                <a:cubicBezTo>
                  <a:pt x="2665" y="100"/>
                  <a:pt x="2665" y="100"/>
                  <a:pt x="2665" y="100"/>
                </a:cubicBezTo>
                <a:cubicBezTo>
                  <a:pt x="2622" y="86"/>
                  <a:pt x="2622" y="86"/>
                  <a:pt x="2622" y="86"/>
                </a:cubicBezTo>
                <a:cubicBezTo>
                  <a:pt x="2613" y="83"/>
                  <a:pt x="2604" y="85"/>
                  <a:pt x="2597" y="90"/>
                </a:cubicBezTo>
                <a:cubicBezTo>
                  <a:pt x="2461" y="210"/>
                  <a:pt x="2331" y="180"/>
                  <a:pt x="2331" y="180"/>
                </a:cubicBezTo>
                <a:cubicBezTo>
                  <a:pt x="2331" y="180"/>
                  <a:pt x="2196" y="168"/>
                  <a:pt x="2103" y="12"/>
                </a:cubicBezTo>
                <a:cubicBezTo>
                  <a:pt x="2099" y="5"/>
                  <a:pt x="2091" y="0"/>
                  <a:pt x="2082" y="0"/>
                </a:cubicBezTo>
                <a:cubicBezTo>
                  <a:pt x="2036" y="0"/>
                  <a:pt x="2036" y="0"/>
                  <a:pt x="2036" y="0"/>
                </a:cubicBezTo>
                <a:cubicBezTo>
                  <a:pt x="1990" y="0"/>
                  <a:pt x="1990" y="0"/>
                  <a:pt x="1990" y="0"/>
                </a:cubicBezTo>
                <a:cubicBezTo>
                  <a:pt x="1981" y="0"/>
                  <a:pt x="1973" y="5"/>
                  <a:pt x="1969" y="12"/>
                </a:cubicBezTo>
                <a:cubicBezTo>
                  <a:pt x="1876" y="168"/>
                  <a:pt x="1743" y="179"/>
                  <a:pt x="1743" y="179"/>
                </a:cubicBezTo>
                <a:cubicBezTo>
                  <a:pt x="1743" y="179"/>
                  <a:pt x="1611" y="210"/>
                  <a:pt x="1475" y="90"/>
                </a:cubicBezTo>
                <a:cubicBezTo>
                  <a:pt x="1468" y="85"/>
                  <a:pt x="1459" y="83"/>
                  <a:pt x="1450" y="86"/>
                </a:cubicBezTo>
                <a:cubicBezTo>
                  <a:pt x="1407" y="100"/>
                  <a:pt x="1407" y="100"/>
                  <a:pt x="1407" y="100"/>
                </a:cubicBezTo>
                <a:cubicBezTo>
                  <a:pt x="1363" y="114"/>
                  <a:pt x="1363" y="114"/>
                  <a:pt x="1363" y="114"/>
                </a:cubicBezTo>
                <a:cubicBezTo>
                  <a:pt x="1355" y="117"/>
                  <a:pt x="1349" y="123"/>
                  <a:pt x="1347" y="132"/>
                </a:cubicBezTo>
                <a:cubicBezTo>
                  <a:pt x="1306" y="309"/>
                  <a:pt x="1184" y="361"/>
                  <a:pt x="1184" y="361"/>
                </a:cubicBezTo>
                <a:cubicBezTo>
                  <a:pt x="1184" y="361"/>
                  <a:pt x="1067" y="430"/>
                  <a:pt x="901" y="359"/>
                </a:cubicBezTo>
                <a:cubicBezTo>
                  <a:pt x="893" y="356"/>
                  <a:pt x="883" y="357"/>
                  <a:pt x="876" y="362"/>
                </a:cubicBezTo>
                <a:cubicBezTo>
                  <a:pt x="839" y="389"/>
                  <a:pt x="839" y="389"/>
                  <a:pt x="839" y="389"/>
                </a:cubicBezTo>
                <a:cubicBezTo>
                  <a:pt x="802" y="416"/>
                  <a:pt x="802" y="416"/>
                  <a:pt x="802" y="416"/>
                </a:cubicBezTo>
                <a:cubicBezTo>
                  <a:pt x="795" y="421"/>
                  <a:pt x="791" y="430"/>
                  <a:pt x="792" y="438"/>
                </a:cubicBezTo>
                <a:cubicBezTo>
                  <a:pt x="808" y="619"/>
                  <a:pt x="708" y="706"/>
                  <a:pt x="708" y="706"/>
                </a:cubicBezTo>
                <a:cubicBezTo>
                  <a:pt x="708" y="706"/>
                  <a:pt x="619" y="808"/>
                  <a:pt x="438" y="792"/>
                </a:cubicBezTo>
                <a:cubicBezTo>
                  <a:pt x="429" y="791"/>
                  <a:pt x="421" y="795"/>
                  <a:pt x="416" y="802"/>
                </a:cubicBezTo>
                <a:cubicBezTo>
                  <a:pt x="389" y="839"/>
                  <a:pt x="389" y="839"/>
                  <a:pt x="389" y="839"/>
                </a:cubicBezTo>
                <a:cubicBezTo>
                  <a:pt x="362" y="876"/>
                  <a:pt x="362" y="876"/>
                  <a:pt x="362" y="876"/>
                </a:cubicBezTo>
                <a:cubicBezTo>
                  <a:pt x="357" y="883"/>
                  <a:pt x="356" y="893"/>
                  <a:pt x="359" y="901"/>
                </a:cubicBezTo>
                <a:cubicBezTo>
                  <a:pt x="430" y="1067"/>
                  <a:pt x="362" y="1182"/>
                  <a:pt x="362" y="1182"/>
                </a:cubicBezTo>
                <a:cubicBezTo>
                  <a:pt x="362" y="1182"/>
                  <a:pt x="309" y="1306"/>
                  <a:pt x="132" y="1347"/>
                </a:cubicBezTo>
                <a:cubicBezTo>
                  <a:pt x="123" y="1349"/>
                  <a:pt x="117" y="1355"/>
                  <a:pt x="114" y="1363"/>
                </a:cubicBezTo>
                <a:cubicBezTo>
                  <a:pt x="100" y="1407"/>
                  <a:pt x="100" y="1407"/>
                  <a:pt x="100" y="1407"/>
                </a:cubicBezTo>
                <a:cubicBezTo>
                  <a:pt x="86" y="1450"/>
                  <a:pt x="86" y="1450"/>
                  <a:pt x="86" y="1450"/>
                </a:cubicBezTo>
                <a:cubicBezTo>
                  <a:pt x="83" y="1459"/>
                  <a:pt x="85" y="1468"/>
                  <a:pt x="90" y="1475"/>
                </a:cubicBezTo>
                <a:cubicBezTo>
                  <a:pt x="210" y="1611"/>
                  <a:pt x="180" y="1741"/>
                  <a:pt x="180" y="1741"/>
                </a:cubicBezTo>
                <a:cubicBezTo>
                  <a:pt x="180" y="1741"/>
                  <a:pt x="168" y="1876"/>
                  <a:pt x="12" y="1969"/>
                </a:cubicBezTo>
                <a:cubicBezTo>
                  <a:pt x="5" y="1973"/>
                  <a:pt x="0" y="1981"/>
                  <a:pt x="0" y="1990"/>
                </a:cubicBezTo>
                <a:cubicBezTo>
                  <a:pt x="0" y="2036"/>
                  <a:pt x="0" y="2036"/>
                  <a:pt x="0" y="2036"/>
                </a:cubicBezTo>
                <a:cubicBezTo>
                  <a:pt x="0" y="2082"/>
                  <a:pt x="0" y="2082"/>
                  <a:pt x="0" y="2082"/>
                </a:cubicBezTo>
                <a:cubicBezTo>
                  <a:pt x="0" y="2091"/>
                  <a:pt x="5" y="2099"/>
                  <a:pt x="12" y="2103"/>
                </a:cubicBezTo>
                <a:cubicBezTo>
                  <a:pt x="168" y="2196"/>
                  <a:pt x="179" y="2329"/>
                  <a:pt x="179" y="2329"/>
                </a:cubicBezTo>
                <a:cubicBezTo>
                  <a:pt x="179" y="2329"/>
                  <a:pt x="210" y="2461"/>
                  <a:pt x="90" y="2597"/>
                </a:cubicBezTo>
                <a:cubicBezTo>
                  <a:pt x="85" y="2604"/>
                  <a:pt x="83" y="2613"/>
                  <a:pt x="86" y="2622"/>
                </a:cubicBezTo>
                <a:cubicBezTo>
                  <a:pt x="100" y="2665"/>
                  <a:pt x="100" y="2665"/>
                  <a:pt x="100" y="2665"/>
                </a:cubicBezTo>
                <a:cubicBezTo>
                  <a:pt x="114" y="2709"/>
                  <a:pt x="114" y="2709"/>
                  <a:pt x="114" y="2709"/>
                </a:cubicBezTo>
                <a:cubicBezTo>
                  <a:pt x="117" y="2717"/>
                  <a:pt x="123" y="2723"/>
                  <a:pt x="132" y="2725"/>
                </a:cubicBezTo>
                <a:cubicBezTo>
                  <a:pt x="309" y="2766"/>
                  <a:pt x="362" y="2890"/>
                  <a:pt x="362" y="2890"/>
                </a:cubicBezTo>
                <a:cubicBezTo>
                  <a:pt x="362" y="2890"/>
                  <a:pt x="430" y="3005"/>
                  <a:pt x="359" y="3171"/>
                </a:cubicBezTo>
                <a:cubicBezTo>
                  <a:pt x="356" y="3179"/>
                  <a:pt x="357" y="3189"/>
                  <a:pt x="362" y="3196"/>
                </a:cubicBezTo>
                <a:cubicBezTo>
                  <a:pt x="389" y="3233"/>
                  <a:pt x="389" y="3233"/>
                  <a:pt x="389" y="3233"/>
                </a:cubicBezTo>
                <a:cubicBezTo>
                  <a:pt x="416" y="3270"/>
                  <a:pt x="416" y="3270"/>
                  <a:pt x="416" y="3270"/>
                </a:cubicBezTo>
                <a:cubicBezTo>
                  <a:pt x="421" y="3277"/>
                  <a:pt x="429" y="3281"/>
                  <a:pt x="438" y="3280"/>
                </a:cubicBezTo>
                <a:cubicBezTo>
                  <a:pt x="619" y="3264"/>
                  <a:pt x="708" y="3366"/>
                  <a:pt x="708" y="3366"/>
                </a:cubicBezTo>
                <a:cubicBezTo>
                  <a:pt x="708" y="3366"/>
                  <a:pt x="808" y="3453"/>
                  <a:pt x="792" y="3634"/>
                </a:cubicBezTo>
                <a:cubicBezTo>
                  <a:pt x="791" y="3643"/>
                  <a:pt x="795" y="3651"/>
                  <a:pt x="802" y="3656"/>
                </a:cubicBezTo>
                <a:cubicBezTo>
                  <a:pt x="839" y="3683"/>
                  <a:pt x="839" y="3683"/>
                  <a:pt x="839" y="3683"/>
                </a:cubicBezTo>
                <a:cubicBezTo>
                  <a:pt x="876" y="3710"/>
                  <a:pt x="876" y="3710"/>
                  <a:pt x="876" y="3710"/>
                </a:cubicBezTo>
                <a:cubicBezTo>
                  <a:pt x="883" y="3715"/>
                  <a:pt x="893" y="3716"/>
                  <a:pt x="901" y="3713"/>
                </a:cubicBezTo>
                <a:cubicBezTo>
                  <a:pt x="1067" y="3642"/>
                  <a:pt x="1184" y="3711"/>
                  <a:pt x="1184" y="3711"/>
                </a:cubicBezTo>
                <a:cubicBezTo>
                  <a:pt x="1184" y="3711"/>
                  <a:pt x="1306" y="3764"/>
                  <a:pt x="1347" y="3940"/>
                </a:cubicBezTo>
                <a:cubicBezTo>
                  <a:pt x="1349" y="3949"/>
                  <a:pt x="1355" y="3955"/>
                  <a:pt x="1363" y="3958"/>
                </a:cubicBezTo>
                <a:cubicBezTo>
                  <a:pt x="1407" y="3972"/>
                  <a:pt x="1407" y="3972"/>
                  <a:pt x="1407" y="3972"/>
                </a:cubicBezTo>
                <a:cubicBezTo>
                  <a:pt x="1450" y="3987"/>
                  <a:pt x="1450" y="3987"/>
                  <a:pt x="1450" y="3987"/>
                </a:cubicBezTo>
                <a:cubicBezTo>
                  <a:pt x="1459" y="3989"/>
                  <a:pt x="1468" y="3987"/>
                  <a:pt x="1475" y="3982"/>
                </a:cubicBezTo>
                <a:cubicBezTo>
                  <a:pt x="1611" y="3862"/>
                  <a:pt x="1743" y="3893"/>
                  <a:pt x="1743" y="3893"/>
                </a:cubicBezTo>
                <a:cubicBezTo>
                  <a:pt x="1743" y="3893"/>
                  <a:pt x="1876" y="3904"/>
                  <a:pt x="1969" y="4060"/>
                </a:cubicBezTo>
                <a:cubicBezTo>
                  <a:pt x="1973" y="4067"/>
                  <a:pt x="1981" y="4072"/>
                  <a:pt x="1990" y="4072"/>
                </a:cubicBezTo>
                <a:cubicBezTo>
                  <a:pt x="2036" y="4072"/>
                  <a:pt x="2036" y="4072"/>
                  <a:pt x="2036" y="4072"/>
                </a:cubicBezTo>
                <a:cubicBezTo>
                  <a:pt x="2082" y="4072"/>
                  <a:pt x="2082" y="4072"/>
                  <a:pt x="2082" y="4072"/>
                </a:cubicBezTo>
                <a:cubicBezTo>
                  <a:pt x="2091" y="4072"/>
                  <a:pt x="2099" y="4067"/>
                  <a:pt x="2103" y="4060"/>
                </a:cubicBezTo>
                <a:cubicBezTo>
                  <a:pt x="2196" y="3904"/>
                  <a:pt x="2331" y="3892"/>
                  <a:pt x="2331" y="3892"/>
                </a:cubicBezTo>
                <a:cubicBezTo>
                  <a:pt x="2331" y="3892"/>
                  <a:pt x="2461" y="3862"/>
                  <a:pt x="2597" y="3982"/>
                </a:cubicBezTo>
                <a:cubicBezTo>
                  <a:pt x="2604" y="3987"/>
                  <a:pt x="2613" y="3989"/>
                  <a:pt x="2622" y="3987"/>
                </a:cubicBezTo>
                <a:cubicBezTo>
                  <a:pt x="2665" y="3972"/>
                  <a:pt x="2665" y="3972"/>
                  <a:pt x="2665" y="3972"/>
                </a:cubicBezTo>
                <a:cubicBezTo>
                  <a:pt x="2709" y="3958"/>
                  <a:pt x="2709" y="3958"/>
                  <a:pt x="2709" y="3958"/>
                </a:cubicBezTo>
                <a:cubicBezTo>
                  <a:pt x="2717" y="3955"/>
                  <a:pt x="2723" y="3949"/>
                  <a:pt x="2725" y="3940"/>
                </a:cubicBezTo>
                <a:cubicBezTo>
                  <a:pt x="2766" y="3764"/>
                  <a:pt x="2890" y="3710"/>
                  <a:pt x="2890" y="3710"/>
                </a:cubicBezTo>
                <a:cubicBezTo>
                  <a:pt x="2890" y="3710"/>
                  <a:pt x="3005" y="3642"/>
                  <a:pt x="3171" y="3713"/>
                </a:cubicBezTo>
                <a:cubicBezTo>
                  <a:pt x="3179" y="3716"/>
                  <a:pt x="3189" y="3715"/>
                  <a:pt x="3196" y="3710"/>
                </a:cubicBezTo>
                <a:cubicBezTo>
                  <a:pt x="3233" y="3683"/>
                  <a:pt x="3233" y="3683"/>
                  <a:pt x="3233" y="3683"/>
                </a:cubicBezTo>
                <a:cubicBezTo>
                  <a:pt x="3270" y="3656"/>
                  <a:pt x="3270" y="3656"/>
                  <a:pt x="3270" y="3656"/>
                </a:cubicBezTo>
                <a:cubicBezTo>
                  <a:pt x="3277" y="3651"/>
                  <a:pt x="3281" y="3643"/>
                  <a:pt x="3280" y="3634"/>
                </a:cubicBezTo>
                <a:cubicBezTo>
                  <a:pt x="3264" y="3453"/>
                  <a:pt x="3366" y="3364"/>
                  <a:pt x="3366" y="3364"/>
                </a:cubicBezTo>
                <a:cubicBezTo>
                  <a:pt x="3366" y="3364"/>
                  <a:pt x="3453" y="3264"/>
                  <a:pt x="3634" y="3280"/>
                </a:cubicBezTo>
                <a:cubicBezTo>
                  <a:pt x="3643" y="3281"/>
                  <a:pt x="3651" y="3277"/>
                  <a:pt x="3656" y="3270"/>
                </a:cubicBezTo>
                <a:cubicBezTo>
                  <a:pt x="3683" y="3233"/>
                  <a:pt x="3683" y="3233"/>
                  <a:pt x="3683" y="3233"/>
                </a:cubicBezTo>
                <a:cubicBezTo>
                  <a:pt x="3710" y="3196"/>
                  <a:pt x="3710" y="3196"/>
                  <a:pt x="3710" y="3196"/>
                </a:cubicBezTo>
                <a:cubicBezTo>
                  <a:pt x="3715" y="3189"/>
                  <a:pt x="3716" y="3179"/>
                  <a:pt x="3713" y="3171"/>
                </a:cubicBezTo>
                <a:cubicBezTo>
                  <a:pt x="3642" y="3005"/>
                  <a:pt x="3711" y="2888"/>
                  <a:pt x="3711" y="2888"/>
                </a:cubicBezTo>
                <a:cubicBezTo>
                  <a:pt x="3711" y="2888"/>
                  <a:pt x="3763" y="2766"/>
                  <a:pt x="3940" y="2725"/>
                </a:cubicBezTo>
                <a:cubicBezTo>
                  <a:pt x="3949" y="2723"/>
                  <a:pt x="3955" y="2717"/>
                  <a:pt x="3958" y="2709"/>
                </a:cubicBezTo>
                <a:cubicBezTo>
                  <a:pt x="3972" y="2665"/>
                  <a:pt x="3972" y="2665"/>
                  <a:pt x="3972" y="2665"/>
                </a:cubicBezTo>
                <a:cubicBezTo>
                  <a:pt x="3986" y="2622"/>
                  <a:pt x="3986" y="2622"/>
                  <a:pt x="3986" y="2622"/>
                </a:cubicBezTo>
                <a:cubicBezTo>
                  <a:pt x="3989" y="2613"/>
                  <a:pt x="3987" y="2604"/>
                  <a:pt x="3982" y="2597"/>
                </a:cubicBezTo>
                <a:cubicBezTo>
                  <a:pt x="3862" y="2461"/>
                  <a:pt x="3893" y="2329"/>
                  <a:pt x="3893" y="2329"/>
                </a:cubicBezTo>
                <a:cubicBezTo>
                  <a:pt x="3893" y="2329"/>
                  <a:pt x="3904" y="2196"/>
                  <a:pt x="4060" y="2103"/>
                </a:cubicBezTo>
                <a:cubicBezTo>
                  <a:pt x="4067" y="2099"/>
                  <a:pt x="4072" y="2091"/>
                  <a:pt x="4072" y="2082"/>
                </a:cubicBezTo>
                <a:cubicBezTo>
                  <a:pt x="4072" y="2036"/>
                  <a:pt x="4072" y="2036"/>
                  <a:pt x="4072" y="2036"/>
                </a:cubicBezTo>
                <a:cubicBezTo>
                  <a:pt x="4072" y="1990"/>
                  <a:pt x="4072" y="1990"/>
                  <a:pt x="4072" y="1990"/>
                </a:cubicBezTo>
                <a:cubicBezTo>
                  <a:pt x="4072" y="1981"/>
                  <a:pt x="4067" y="1973"/>
                  <a:pt x="4060" y="1969"/>
                </a:cubicBezTo>
                <a:close/>
              </a:path>
            </a:pathLst>
          </a:custGeom>
          <a:solidFill>
            <a:srgbClr val="F40009"/>
          </a:solidFill>
          <a:ln>
            <a:noFill/>
          </a:ln>
        </p:spPr>
        <p:txBody>
          <a:bodyPr vert="horz" wrap="square" lIns="54864" tIns="27432" rIns="54864" bIns="27432" numCol="1" anchor="ctr" anchorCtr="0" compatLnSpc="1">
            <a:prstTxWarp prst="textNoShape">
              <a:avLst/>
            </a:prstTxWarp>
          </a:bodyPr>
          <a:lstStyle/>
          <a:p>
            <a:pPr algn="ctr" defTabSz="1097280">
              <a:defRPr/>
            </a:pPr>
            <a:r>
              <a:rPr lang="fr-BE" sz="144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Centre of Expertise</a:t>
            </a:r>
          </a:p>
        </p:txBody>
      </p:sp>
      <p:sp>
        <p:nvSpPr>
          <p:cNvPr id="27" name="Freeform 168"/>
          <p:cNvSpPr>
            <a:spLocks noChangeAspect="1"/>
          </p:cNvSpPr>
          <p:nvPr/>
        </p:nvSpPr>
        <p:spPr bwMode="white">
          <a:xfrm>
            <a:off x="7114918" y="2378045"/>
            <a:ext cx="336450" cy="1168560"/>
          </a:xfrm>
          <a:custGeom>
            <a:avLst/>
            <a:gdLst>
              <a:gd name="T0" fmla="*/ 95 w 270"/>
              <a:gd name="T1" fmla="*/ 2 h 935"/>
              <a:gd name="T2" fmla="*/ 81 w 270"/>
              <a:gd name="T3" fmla="*/ 11 h 935"/>
              <a:gd name="T4" fmla="*/ 83 w 270"/>
              <a:gd name="T5" fmla="*/ 25 h 935"/>
              <a:gd name="T6" fmla="*/ 86 w 270"/>
              <a:gd name="T7" fmla="*/ 34 h 935"/>
              <a:gd name="T8" fmla="*/ 77 w 270"/>
              <a:gd name="T9" fmla="*/ 62 h 935"/>
              <a:gd name="T10" fmla="*/ 83 w 270"/>
              <a:gd name="T11" fmla="*/ 76 h 935"/>
              <a:gd name="T12" fmla="*/ 80 w 270"/>
              <a:gd name="T13" fmla="*/ 144 h 935"/>
              <a:gd name="T14" fmla="*/ 59 w 270"/>
              <a:gd name="T15" fmla="*/ 228 h 935"/>
              <a:gd name="T16" fmla="*/ 22 w 270"/>
              <a:gd name="T17" fmla="*/ 348 h 935"/>
              <a:gd name="T18" fmla="*/ 25 w 270"/>
              <a:gd name="T19" fmla="*/ 375 h 935"/>
              <a:gd name="T20" fmla="*/ 13 w 270"/>
              <a:gd name="T21" fmla="*/ 529 h 935"/>
              <a:gd name="T22" fmla="*/ 11 w 270"/>
              <a:gd name="T23" fmla="*/ 555 h 935"/>
              <a:gd name="T24" fmla="*/ 30 w 270"/>
              <a:gd name="T25" fmla="*/ 733 h 935"/>
              <a:gd name="T26" fmla="*/ 14 w 270"/>
              <a:gd name="T27" fmla="*/ 828 h 935"/>
              <a:gd name="T28" fmla="*/ 25 w 270"/>
              <a:gd name="T29" fmla="*/ 919 h 935"/>
              <a:gd name="T30" fmla="*/ 135 w 270"/>
              <a:gd name="T31" fmla="*/ 935 h 935"/>
              <a:gd name="T32" fmla="*/ 245 w 270"/>
              <a:gd name="T33" fmla="*/ 920 h 935"/>
              <a:gd name="T34" fmla="*/ 256 w 270"/>
              <a:gd name="T35" fmla="*/ 829 h 935"/>
              <a:gd name="T36" fmla="*/ 240 w 270"/>
              <a:gd name="T37" fmla="*/ 733 h 935"/>
              <a:gd name="T38" fmla="*/ 261 w 270"/>
              <a:gd name="T39" fmla="*/ 556 h 935"/>
              <a:gd name="T40" fmla="*/ 259 w 270"/>
              <a:gd name="T41" fmla="*/ 530 h 935"/>
              <a:gd name="T42" fmla="*/ 247 w 270"/>
              <a:gd name="T43" fmla="*/ 376 h 935"/>
              <a:gd name="T44" fmla="*/ 250 w 270"/>
              <a:gd name="T45" fmla="*/ 349 h 935"/>
              <a:gd name="T46" fmla="*/ 215 w 270"/>
              <a:gd name="T47" fmla="*/ 229 h 935"/>
              <a:gd name="T48" fmla="*/ 194 w 270"/>
              <a:gd name="T49" fmla="*/ 145 h 935"/>
              <a:gd name="T50" fmla="*/ 192 w 270"/>
              <a:gd name="T51" fmla="*/ 77 h 935"/>
              <a:gd name="T52" fmla="*/ 198 w 270"/>
              <a:gd name="T53" fmla="*/ 63 h 935"/>
              <a:gd name="T54" fmla="*/ 188 w 270"/>
              <a:gd name="T55" fmla="*/ 34 h 935"/>
              <a:gd name="T56" fmla="*/ 192 w 270"/>
              <a:gd name="T57" fmla="*/ 26 h 935"/>
              <a:gd name="T58" fmla="*/ 194 w 270"/>
              <a:gd name="T59" fmla="*/ 11 h 935"/>
              <a:gd name="T60" fmla="*/ 180 w 270"/>
              <a:gd name="T61" fmla="*/ 3 h 935"/>
              <a:gd name="T62" fmla="*/ 137 w 270"/>
              <a:gd name="T63" fmla="*/ 0 h 935"/>
              <a:gd name="T64" fmla="*/ 95 w 270"/>
              <a:gd name="T65" fmla="*/ 2 h 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935">
                <a:moveTo>
                  <a:pt x="95" y="2"/>
                </a:moveTo>
                <a:cubicBezTo>
                  <a:pt x="90" y="3"/>
                  <a:pt x="83" y="5"/>
                  <a:pt x="81" y="11"/>
                </a:cubicBezTo>
                <a:cubicBezTo>
                  <a:pt x="80" y="16"/>
                  <a:pt x="79" y="22"/>
                  <a:pt x="83" y="25"/>
                </a:cubicBezTo>
                <a:cubicBezTo>
                  <a:pt x="86" y="28"/>
                  <a:pt x="86" y="32"/>
                  <a:pt x="86" y="34"/>
                </a:cubicBezTo>
                <a:cubicBezTo>
                  <a:pt x="86" y="37"/>
                  <a:pt x="77" y="55"/>
                  <a:pt x="77" y="62"/>
                </a:cubicBezTo>
                <a:cubicBezTo>
                  <a:pt x="76" y="70"/>
                  <a:pt x="78" y="72"/>
                  <a:pt x="83" y="76"/>
                </a:cubicBezTo>
                <a:cubicBezTo>
                  <a:pt x="83" y="90"/>
                  <a:pt x="83" y="120"/>
                  <a:pt x="80" y="144"/>
                </a:cubicBezTo>
                <a:cubicBezTo>
                  <a:pt x="76" y="170"/>
                  <a:pt x="65" y="205"/>
                  <a:pt x="59" y="228"/>
                </a:cubicBezTo>
                <a:cubicBezTo>
                  <a:pt x="43" y="280"/>
                  <a:pt x="25" y="328"/>
                  <a:pt x="22" y="348"/>
                </a:cubicBezTo>
                <a:cubicBezTo>
                  <a:pt x="21" y="359"/>
                  <a:pt x="18" y="375"/>
                  <a:pt x="25" y="375"/>
                </a:cubicBezTo>
                <a:cubicBezTo>
                  <a:pt x="12" y="380"/>
                  <a:pt x="5" y="524"/>
                  <a:pt x="13" y="529"/>
                </a:cubicBezTo>
                <a:cubicBezTo>
                  <a:pt x="6" y="532"/>
                  <a:pt x="9" y="544"/>
                  <a:pt x="11" y="555"/>
                </a:cubicBezTo>
                <a:cubicBezTo>
                  <a:pt x="11" y="562"/>
                  <a:pt x="30" y="675"/>
                  <a:pt x="30" y="733"/>
                </a:cubicBezTo>
                <a:cubicBezTo>
                  <a:pt x="30" y="787"/>
                  <a:pt x="19" y="813"/>
                  <a:pt x="14" y="828"/>
                </a:cubicBezTo>
                <a:cubicBezTo>
                  <a:pt x="7" y="850"/>
                  <a:pt x="0" y="905"/>
                  <a:pt x="25" y="919"/>
                </a:cubicBezTo>
                <a:cubicBezTo>
                  <a:pt x="40" y="928"/>
                  <a:pt x="89" y="935"/>
                  <a:pt x="135" y="935"/>
                </a:cubicBezTo>
                <a:cubicBezTo>
                  <a:pt x="180" y="935"/>
                  <a:pt x="230" y="928"/>
                  <a:pt x="245" y="920"/>
                </a:cubicBezTo>
                <a:cubicBezTo>
                  <a:pt x="270" y="906"/>
                  <a:pt x="263" y="850"/>
                  <a:pt x="256" y="829"/>
                </a:cubicBezTo>
                <a:cubicBezTo>
                  <a:pt x="251" y="813"/>
                  <a:pt x="240" y="787"/>
                  <a:pt x="240" y="733"/>
                </a:cubicBezTo>
                <a:cubicBezTo>
                  <a:pt x="241" y="675"/>
                  <a:pt x="260" y="563"/>
                  <a:pt x="261" y="556"/>
                </a:cubicBezTo>
                <a:cubicBezTo>
                  <a:pt x="262" y="544"/>
                  <a:pt x="265" y="533"/>
                  <a:pt x="259" y="530"/>
                </a:cubicBezTo>
                <a:cubicBezTo>
                  <a:pt x="267" y="524"/>
                  <a:pt x="261" y="381"/>
                  <a:pt x="247" y="376"/>
                </a:cubicBezTo>
                <a:cubicBezTo>
                  <a:pt x="254" y="376"/>
                  <a:pt x="252" y="360"/>
                  <a:pt x="250" y="349"/>
                </a:cubicBezTo>
                <a:cubicBezTo>
                  <a:pt x="248" y="328"/>
                  <a:pt x="230" y="280"/>
                  <a:pt x="215" y="229"/>
                </a:cubicBezTo>
                <a:cubicBezTo>
                  <a:pt x="208" y="205"/>
                  <a:pt x="197" y="170"/>
                  <a:pt x="194" y="145"/>
                </a:cubicBezTo>
                <a:cubicBezTo>
                  <a:pt x="191" y="121"/>
                  <a:pt x="192" y="90"/>
                  <a:pt x="192" y="77"/>
                </a:cubicBezTo>
                <a:cubicBezTo>
                  <a:pt x="196" y="72"/>
                  <a:pt x="198" y="70"/>
                  <a:pt x="198" y="63"/>
                </a:cubicBezTo>
                <a:cubicBezTo>
                  <a:pt x="198" y="55"/>
                  <a:pt x="188" y="37"/>
                  <a:pt x="188" y="34"/>
                </a:cubicBezTo>
                <a:cubicBezTo>
                  <a:pt x="188" y="32"/>
                  <a:pt x="188" y="29"/>
                  <a:pt x="192" y="26"/>
                </a:cubicBezTo>
                <a:cubicBezTo>
                  <a:pt x="195" y="22"/>
                  <a:pt x="195" y="16"/>
                  <a:pt x="194" y="11"/>
                </a:cubicBezTo>
                <a:cubicBezTo>
                  <a:pt x="192" y="6"/>
                  <a:pt x="184" y="4"/>
                  <a:pt x="180" y="3"/>
                </a:cubicBezTo>
                <a:cubicBezTo>
                  <a:pt x="176" y="2"/>
                  <a:pt x="157" y="0"/>
                  <a:pt x="137" y="0"/>
                </a:cubicBezTo>
                <a:cubicBezTo>
                  <a:pt x="118" y="0"/>
                  <a:pt x="98" y="2"/>
                  <a:pt x="95" y="2"/>
                </a:cubicBezTo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54864" tIns="27432" rIns="54864" bIns="27432" numCol="1" anchor="t" anchorCtr="0" compatLnSpc="1">
            <a:prstTxWarp prst="textNoShape">
              <a:avLst/>
            </a:prstTxWarp>
          </a:bodyPr>
          <a:lstStyle/>
          <a:p>
            <a:pPr defTabSz="1097280">
              <a:defRPr/>
            </a:pPr>
            <a:endParaRPr lang="fr-BE" sz="2160" kern="0">
              <a:solidFill>
                <a:prstClr val="black"/>
              </a:solidFill>
              <a:latin typeface="Gotham Book"/>
              <a:ea typeface="ＭＳ Ｐゴシック" charset="0"/>
            </a:endParaRPr>
          </a:p>
        </p:txBody>
      </p:sp>
      <p:sp>
        <p:nvSpPr>
          <p:cNvPr id="28" name="Freeform 168"/>
          <p:cNvSpPr>
            <a:spLocks noChangeAspect="1"/>
          </p:cNvSpPr>
          <p:nvPr/>
        </p:nvSpPr>
        <p:spPr bwMode="white">
          <a:xfrm>
            <a:off x="7128109" y="3605622"/>
            <a:ext cx="336450" cy="1168560"/>
          </a:xfrm>
          <a:custGeom>
            <a:avLst/>
            <a:gdLst>
              <a:gd name="T0" fmla="*/ 95 w 270"/>
              <a:gd name="T1" fmla="*/ 2 h 935"/>
              <a:gd name="T2" fmla="*/ 81 w 270"/>
              <a:gd name="T3" fmla="*/ 11 h 935"/>
              <a:gd name="T4" fmla="*/ 83 w 270"/>
              <a:gd name="T5" fmla="*/ 25 h 935"/>
              <a:gd name="T6" fmla="*/ 86 w 270"/>
              <a:gd name="T7" fmla="*/ 34 h 935"/>
              <a:gd name="T8" fmla="*/ 77 w 270"/>
              <a:gd name="T9" fmla="*/ 62 h 935"/>
              <a:gd name="T10" fmla="*/ 83 w 270"/>
              <a:gd name="T11" fmla="*/ 76 h 935"/>
              <a:gd name="T12" fmla="*/ 80 w 270"/>
              <a:gd name="T13" fmla="*/ 144 h 935"/>
              <a:gd name="T14" fmla="*/ 59 w 270"/>
              <a:gd name="T15" fmla="*/ 228 h 935"/>
              <a:gd name="T16" fmla="*/ 22 w 270"/>
              <a:gd name="T17" fmla="*/ 348 h 935"/>
              <a:gd name="T18" fmla="*/ 25 w 270"/>
              <a:gd name="T19" fmla="*/ 375 h 935"/>
              <a:gd name="T20" fmla="*/ 13 w 270"/>
              <a:gd name="T21" fmla="*/ 529 h 935"/>
              <a:gd name="T22" fmla="*/ 11 w 270"/>
              <a:gd name="T23" fmla="*/ 555 h 935"/>
              <a:gd name="T24" fmla="*/ 30 w 270"/>
              <a:gd name="T25" fmla="*/ 733 h 935"/>
              <a:gd name="T26" fmla="*/ 14 w 270"/>
              <a:gd name="T27" fmla="*/ 828 h 935"/>
              <a:gd name="T28" fmla="*/ 25 w 270"/>
              <a:gd name="T29" fmla="*/ 919 h 935"/>
              <a:gd name="T30" fmla="*/ 135 w 270"/>
              <a:gd name="T31" fmla="*/ 935 h 935"/>
              <a:gd name="T32" fmla="*/ 245 w 270"/>
              <a:gd name="T33" fmla="*/ 920 h 935"/>
              <a:gd name="T34" fmla="*/ 256 w 270"/>
              <a:gd name="T35" fmla="*/ 829 h 935"/>
              <a:gd name="T36" fmla="*/ 240 w 270"/>
              <a:gd name="T37" fmla="*/ 733 h 935"/>
              <a:gd name="T38" fmla="*/ 261 w 270"/>
              <a:gd name="T39" fmla="*/ 556 h 935"/>
              <a:gd name="T40" fmla="*/ 259 w 270"/>
              <a:gd name="T41" fmla="*/ 530 h 935"/>
              <a:gd name="T42" fmla="*/ 247 w 270"/>
              <a:gd name="T43" fmla="*/ 376 h 935"/>
              <a:gd name="T44" fmla="*/ 250 w 270"/>
              <a:gd name="T45" fmla="*/ 349 h 935"/>
              <a:gd name="T46" fmla="*/ 215 w 270"/>
              <a:gd name="T47" fmla="*/ 229 h 935"/>
              <a:gd name="T48" fmla="*/ 194 w 270"/>
              <a:gd name="T49" fmla="*/ 145 h 935"/>
              <a:gd name="T50" fmla="*/ 192 w 270"/>
              <a:gd name="T51" fmla="*/ 77 h 935"/>
              <a:gd name="T52" fmla="*/ 198 w 270"/>
              <a:gd name="T53" fmla="*/ 63 h 935"/>
              <a:gd name="T54" fmla="*/ 188 w 270"/>
              <a:gd name="T55" fmla="*/ 34 h 935"/>
              <a:gd name="T56" fmla="*/ 192 w 270"/>
              <a:gd name="T57" fmla="*/ 26 h 935"/>
              <a:gd name="T58" fmla="*/ 194 w 270"/>
              <a:gd name="T59" fmla="*/ 11 h 935"/>
              <a:gd name="T60" fmla="*/ 180 w 270"/>
              <a:gd name="T61" fmla="*/ 3 h 935"/>
              <a:gd name="T62" fmla="*/ 137 w 270"/>
              <a:gd name="T63" fmla="*/ 0 h 935"/>
              <a:gd name="T64" fmla="*/ 95 w 270"/>
              <a:gd name="T65" fmla="*/ 2 h 9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0" h="935">
                <a:moveTo>
                  <a:pt x="95" y="2"/>
                </a:moveTo>
                <a:cubicBezTo>
                  <a:pt x="90" y="3"/>
                  <a:pt x="83" y="5"/>
                  <a:pt x="81" y="11"/>
                </a:cubicBezTo>
                <a:cubicBezTo>
                  <a:pt x="80" y="16"/>
                  <a:pt x="79" y="22"/>
                  <a:pt x="83" y="25"/>
                </a:cubicBezTo>
                <a:cubicBezTo>
                  <a:pt x="86" y="28"/>
                  <a:pt x="86" y="32"/>
                  <a:pt x="86" y="34"/>
                </a:cubicBezTo>
                <a:cubicBezTo>
                  <a:pt x="86" y="37"/>
                  <a:pt x="77" y="55"/>
                  <a:pt x="77" y="62"/>
                </a:cubicBezTo>
                <a:cubicBezTo>
                  <a:pt x="76" y="70"/>
                  <a:pt x="78" y="72"/>
                  <a:pt x="83" y="76"/>
                </a:cubicBezTo>
                <a:cubicBezTo>
                  <a:pt x="83" y="90"/>
                  <a:pt x="83" y="120"/>
                  <a:pt x="80" y="144"/>
                </a:cubicBezTo>
                <a:cubicBezTo>
                  <a:pt x="76" y="170"/>
                  <a:pt x="65" y="205"/>
                  <a:pt x="59" y="228"/>
                </a:cubicBezTo>
                <a:cubicBezTo>
                  <a:pt x="43" y="280"/>
                  <a:pt x="25" y="328"/>
                  <a:pt x="22" y="348"/>
                </a:cubicBezTo>
                <a:cubicBezTo>
                  <a:pt x="21" y="359"/>
                  <a:pt x="18" y="375"/>
                  <a:pt x="25" y="375"/>
                </a:cubicBezTo>
                <a:cubicBezTo>
                  <a:pt x="12" y="380"/>
                  <a:pt x="5" y="524"/>
                  <a:pt x="13" y="529"/>
                </a:cubicBezTo>
                <a:cubicBezTo>
                  <a:pt x="6" y="532"/>
                  <a:pt x="9" y="544"/>
                  <a:pt x="11" y="555"/>
                </a:cubicBezTo>
                <a:cubicBezTo>
                  <a:pt x="11" y="562"/>
                  <a:pt x="30" y="675"/>
                  <a:pt x="30" y="733"/>
                </a:cubicBezTo>
                <a:cubicBezTo>
                  <a:pt x="30" y="787"/>
                  <a:pt x="19" y="813"/>
                  <a:pt x="14" y="828"/>
                </a:cubicBezTo>
                <a:cubicBezTo>
                  <a:pt x="7" y="850"/>
                  <a:pt x="0" y="905"/>
                  <a:pt x="25" y="919"/>
                </a:cubicBezTo>
                <a:cubicBezTo>
                  <a:pt x="40" y="928"/>
                  <a:pt x="89" y="935"/>
                  <a:pt x="135" y="935"/>
                </a:cubicBezTo>
                <a:cubicBezTo>
                  <a:pt x="180" y="935"/>
                  <a:pt x="230" y="928"/>
                  <a:pt x="245" y="920"/>
                </a:cubicBezTo>
                <a:cubicBezTo>
                  <a:pt x="270" y="906"/>
                  <a:pt x="263" y="850"/>
                  <a:pt x="256" y="829"/>
                </a:cubicBezTo>
                <a:cubicBezTo>
                  <a:pt x="251" y="813"/>
                  <a:pt x="240" y="787"/>
                  <a:pt x="240" y="733"/>
                </a:cubicBezTo>
                <a:cubicBezTo>
                  <a:pt x="241" y="675"/>
                  <a:pt x="260" y="563"/>
                  <a:pt x="261" y="556"/>
                </a:cubicBezTo>
                <a:cubicBezTo>
                  <a:pt x="262" y="544"/>
                  <a:pt x="265" y="533"/>
                  <a:pt x="259" y="530"/>
                </a:cubicBezTo>
                <a:cubicBezTo>
                  <a:pt x="267" y="524"/>
                  <a:pt x="261" y="381"/>
                  <a:pt x="247" y="376"/>
                </a:cubicBezTo>
                <a:cubicBezTo>
                  <a:pt x="254" y="376"/>
                  <a:pt x="252" y="360"/>
                  <a:pt x="250" y="349"/>
                </a:cubicBezTo>
                <a:cubicBezTo>
                  <a:pt x="248" y="328"/>
                  <a:pt x="230" y="280"/>
                  <a:pt x="215" y="229"/>
                </a:cubicBezTo>
                <a:cubicBezTo>
                  <a:pt x="208" y="205"/>
                  <a:pt x="197" y="170"/>
                  <a:pt x="194" y="145"/>
                </a:cubicBezTo>
                <a:cubicBezTo>
                  <a:pt x="191" y="121"/>
                  <a:pt x="192" y="90"/>
                  <a:pt x="192" y="77"/>
                </a:cubicBezTo>
                <a:cubicBezTo>
                  <a:pt x="196" y="72"/>
                  <a:pt x="198" y="70"/>
                  <a:pt x="198" y="63"/>
                </a:cubicBezTo>
                <a:cubicBezTo>
                  <a:pt x="198" y="55"/>
                  <a:pt x="188" y="37"/>
                  <a:pt x="188" y="34"/>
                </a:cubicBezTo>
                <a:cubicBezTo>
                  <a:pt x="188" y="32"/>
                  <a:pt x="188" y="29"/>
                  <a:pt x="192" y="26"/>
                </a:cubicBezTo>
                <a:cubicBezTo>
                  <a:pt x="195" y="22"/>
                  <a:pt x="195" y="16"/>
                  <a:pt x="194" y="11"/>
                </a:cubicBezTo>
                <a:cubicBezTo>
                  <a:pt x="192" y="6"/>
                  <a:pt x="184" y="4"/>
                  <a:pt x="180" y="3"/>
                </a:cubicBezTo>
                <a:cubicBezTo>
                  <a:pt x="176" y="2"/>
                  <a:pt x="157" y="0"/>
                  <a:pt x="137" y="0"/>
                </a:cubicBezTo>
                <a:cubicBezTo>
                  <a:pt x="118" y="0"/>
                  <a:pt x="98" y="2"/>
                  <a:pt x="95" y="2"/>
                </a:cubicBezTo>
              </a:path>
            </a:pathLst>
          </a:custGeom>
          <a:solidFill>
            <a:sysClr val="window" lastClr="FFFFFF"/>
          </a:solidFill>
          <a:ln>
            <a:noFill/>
          </a:ln>
        </p:spPr>
        <p:txBody>
          <a:bodyPr vert="horz" wrap="square" lIns="54864" tIns="27432" rIns="54864" bIns="27432" numCol="1" anchor="t" anchorCtr="0" compatLnSpc="1">
            <a:prstTxWarp prst="textNoShape">
              <a:avLst/>
            </a:prstTxWarp>
          </a:bodyPr>
          <a:lstStyle/>
          <a:p>
            <a:pPr defTabSz="1097280">
              <a:defRPr/>
            </a:pPr>
            <a:endParaRPr lang="fr-BE" sz="2160" kern="0">
              <a:solidFill>
                <a:prstClr val="black"/>
              </a:solidFill>
              <a:latin typeface="Gotham Book"/>
              <a:ea typeface="ＭＳ Ｐゴシック" charset="0"/>
            </a:endParaRPr>
          </a:p>
        </p:txBody>
      </p:sp>
      <p:sp>
        <p:nvSpPr>
          <p:cNvPr id="29" name="Freeform 28"/>
          <p:cNvSpPr>
            <a:spLocks noChangeAspect="1"/>
          </p:cNvSpPr>
          <p:nvPr/>
        </p:nvSpPr>
        <p:spPr bwMode="auto">
          <a:xfrm>
            <a:off x="7578622" y="2416732"/>
            <a:ext cx="1096411" cy="1094472"/>
          </a:xfrm>
          <a:custGeom>
            <a:avLst/>
            <a:gdLst>
              <a:gd name="T0" fmla="*/ 3892 w 4072"/>
              <a:gd name="T1" fmla="*/ 1741 h 4072"/>
              <a:gd name="T2" fmla="*/ 3986 w 4072"/>
              <a:gd name="T3" fmla="*/ 1450 h 4072"/>
              <a:gd name="T4" fmla="*/ 3958 w 4072"/>
              <a:gd name="T5" fmla="*/ 1363 h 4072"/>
              <a:gd name="T6" fmla="*/ 3711 w 4072"/>
              <a:gd name="T7" fmla="*/ 1184 h 4072"/>
              <a:gd name="T8" fmla="*/ 3710 w 4072"/>
              <a:gd name="T9" fmla="*/ 876 h 4072"/>
              <a:gd name="T10" fmla="*/ 3656 w 4072"/>
              <a:gd name="T11" fmla="*/ 802 h 4072"/>
              <a:gd name="T12" fmla="*/ 3366 w 4072"/>
              <a:gd name="T13" fmla="*/ 708 h 4072"/>
              <a:gd name="T14" fmla="*/ 3270 w 4072"/>
              <a:gd name="T15" fmla="*/ 416 h 4072"/>
              <a:gd name="T16" fmla="*/ 3196 w 4072"/>
              <a:gd name="T17" fmla="*/ 362 h 4072"/>
              <a:gd name="T18" fmla="*/ 2890 w 4072"/>
              <a:gd name="T19" fmla="*/ 362 h 4072"/>
              <a:gd name="T20" fmla="*/ 2709 w 4072"/>
              <a:gd name="T21" fmla="*/ 114 h 4072"/>
              <a:gd name="T22" fmla="*/ 2622 w 4072"/>
              <a:gd name="T23" fmla="*/ 86 h 4072"/>
              <a:gd name="T24" fmla="*/ 2331 w 4072"/>
              <a:gd name="T25" fmla="*/ 180 h 4072"/>
              <a:gd name="T26" fmla="*/ 2082 w 4072"/>
              <a:gd name="T27" fmla="*/ 0 h 4072"/>
              <a:gd name="T28" fmla="*/ 1990 w 4072"/>
              <a:gd name="T29" fmla="*/ 0 h 4072"/>
              <a:gd name="T30" fmla="*/ 1743 w 4072"/>
              <a:gd name="T31" fmla="*/ 179 h 4072"/>
              <a:gd name="T32" fmla="*/ 1450 w 4072"/>
              <a:gd name="T33" fmla="*/ 86 h 4072"/>
              <a:gd name="T34" fmla="*/ 1363 w 4072"/>
              <a:gd name="T35" fmla="*/ 114 h 4072"/>
              <a:gd name="T36" fmla="*/ 1184 w 4072"/>
              <a:gd name="T37" fmla="*/ 361 h 4072"/>
              <a:gd name="T38" fmla="*/ 876 w 4072"/>
              <a:gd name="T39" fmla="*/ 362 h 4072"/>
              <a:gd name="T40" fmla="*/ 802 w 4072"/>
              <a:gd name="T41" fmla="*/ 416 h 4072"/>
              <a:gd name="T42" fmla="*/ 708 w 4072"/>
              <a:gd name="T43" fmla="*/ 706 h 4072"/>
              <a:gd name="T44" fmla="*/ 416 w 4072"/>
              <a:gd name="T45" fmla="*/ 802 h 4072"/>
              <a:gd name="T46" fmla="*/ 362 w 4072"/>
              <a:gd name="T47" fmla="*/ 876 h 4072"/>
              <a:gd name="T48" fmla="*/ 362 w 4072"/>
              <a:gd name="T49" fmla="*/ 1182 h 4072"/>
              <a:gd name="T50" fmla="*/ 114 w 4072"/>
              <a:gd name="T51" fmla="*/ 1363 h 4072"/>
              <a:gd name="T52" fmla="*/ 86 w 4072"/>
              <a:gd name="T53" fmla="*/ 1450 h 4072"/>
              <a:gd name="T54" fmla="*/ 180 w 4072"/>
              <a:gd name="T55" fmla="*/ 1741 h 4072"/>
              <a:gd name="T56" fmla="*/ 0 w 4072"/>
              <a:gd name="T57" fmla="*/ 1990 h 4072"/>
              <a:gd name="T58" fmla="*/ 0 w 4072"/>
              <a:gd name="T59" fmla="*/ 2082 h 4072"/>
              <a:gd name="T60" fmla="*/ 179 w 4072"/>
              <a:gd name="T61" fmla="*/ 2329 h 4072"/>
              <a:gd name="T62" fmla="*/ 86 w 4072"/>
              <a:gd name="T63" fmla="*/ 2622 h 4072"/>
              <a:gd name="T64" fmla="*/ 114 w 4072"/>
              <a:gd name="T65" fmla="*/ 2709 h 4072"/>
              <a:gd name="T66" fmla="*/ 362 w 4072"/>
              <a:gd name="T67" fmla="*/ 2890 h 4072"/>
              <a:gd name="T68" fmla="*/ 362 w 4072"/>
              <a:gd name="T69" fmla="*/ 3196 h 4072"/>
              <a:gd name="T70" fmla="*/ 416 w 4072"/>
              <a:gd name="T71" fmla="*/ 3270 h 4072"/>
              <a:gd name="T72" fmla="*/ 708 w 4072"/>
              <a:gd name="T73" fmla="*/ 3366 h 4072"/>
              <a:gd name="T74" fmla="*/ 802 w 4072"/>
              <a:gd name="T75" fmla="*/ 3656 h 4072"/>
              <a:gd name="T76" fmla="*/ 876 w 4072"/>
              <a:gd name="T77" fmla="*/ 3710 h 4072"/>
              <a:gd name="T78" fmla="*/ 1184 w 4072"/>
              <a:gd name="T79" fmla="*/ 3711 h 4072"/>
              <a:gd name="T80" fmla="*/ 1363 w 4072"/>
              <a:gd name="T81" fmla="*/ 3958 h 4072"/>
              <a:gd name="T82" fmla="*/ 1450 w 4072"/>
              <a:gd name="T83" fmla="*/ 3987 h 4072"/>
              <a:gd name="T84" fmla="*/ 1743 w 4072"/>
              <a:gd name="T85" fmla="*/ 3893 h 4072"/>
              <a:gd name="T86" fmla="*/ 1990 w 4072"/>
              <a:gd name="T87" fmla="*/ 4072 h 4072"/>
              <a:gd name="T88" fmla="*/ 2082 w 4072"/>
              <a:gd name="T89" fmla="*/ 4072 h 4072"/>
              <a:gd name="T90" fmla="*/ 2331 w 4072"/>
              <a:gd name="T91" fmla="*/ 3892 h 4072"/>
              <a:gd name="T92" fmla="*/ 2622 w 4072"/>
              <a:gd name="T93" fmla="*/ 3987 h 4072"/>
              <a:gd name="T94" fmla="*/ 2709 w 4072"/>
              <a:gd name="T95" fmla="*/ 3958 h 4072"/>
              <a:gd name="T96" fmla="*/ 2890 w 4072"/>
              <a:gd name="T97" fmla="*/ 3710 h 4072"/>
              <a:gd name="T98" fmla="*/ 3196 w 4072"/>
              <a:gd name="T99" fmla="*/ 3710 h 4072"/>
              <a:gd name="T100" fmla="*/ 3270 w 4072"/>
              <a:gd name="T101" fmla="*/ 3656 h 4072"/>
              <a:gd name="T102" fmla="*/ 3366 w 4072"/>
              <a:gd name="T103" fmla="*/ 3364 h 4072"/>
              <a:gd name="T104" fmla="*/ 3656 w 4072"/>
              <a:gd name="T105" fmla="*/ 3270 h 4072"/>
              <a:gd name="T106" fmla="*/ 3710 w 4072"/>
              <a:gd name="T107" fmla="*/ 3196 h 4072"/>
              <a:gd name="T108" fmla="*/ 3711 w 4072"/>
              <a:gd name="T109" fmla="*/ 2888 h 4072"/>
              <a:gd name="T110" fmla="*/ 3958 w 4072"/>
              <a:gd name="T111" fmla="*/ 2709 h 4072"/>
              <a:gd name="T112" fmla="*/ 3986 w 4072"/>
              <a:gd name="T113" fmla="*/ 2622 h 4072"/>
              <a:gd name="T114" fmla="*/ 3893 w 4072"/>
              <a:gd name="T115" fmla="*/ 2329 h 4072"/>
              <a:gd name="T116" fmla="*/ 4072 w 4072"/>
              <a:gd name="T117" fmla="*/ 2082 h 4072"/>
              <a:gd name="T118" fmla="*/ 4072 w 4072"/>
              <a:gd name="T119" fmla="*/ 1990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072" h="4072">
                <a:moveTo>
                  <a:pt x="4060" y="1969"/>
                </a:moveTo>
                <a:cubicBezTo>
                  <a:pt x="3904" y="1876"/>
                  <a:pt x="3892" y="1741"/>
                  <a:pt x="3892" y="1741"/>
                </a:cubicBezTo>
                <a:cubicBezTo>
                  <a:pt x="3892" y="1741"/>
                  <a:pt x="3862" y="1611"/>
                  <a:pt x="3982" y="1475"/>
                </a:cubicBezTo>
                <a:cubicBezTo>
                  <a:pt x="3987" y="1468"/>
                  <a:pt x="3989" y="1459"/>
                  <a:pt x="3986" y="1450"/>
                </a:cubicBezTo>
                <a:cubicBezTo>
                  <a:pt x="3972" y="1407"/>
                  <a:pt x="3972" y="1407"/>
                  <a:pt x="3972" y="1407"/>
                </a:cubicBezTo>
                <a:cubicBezTo>
                  <a:pt x="3958" y="1363"/>
                  <a:pt x="3958" y="1363"/>
                  <a:pt x="3958" y="1363"/>
                </a:cubicBezTo>
                <a:cubicBezTo>
                  <a:pt x="3955" y="1355"/>
                  <a:pt x="3949" y="1349"/>
                  <a:pt x="3940" y="1347"/>
                </a:cubicBezTo>
                <a:cubicBezTo>
                  <a:pt x="3763" y="1306"/>
                  <a:pt x="3711" y="1184"/>
                  <a:pt x="3711" y="1184"/>
                </a:cubicBezTo>
                <a:cubicBezTo>
                  <a:pt x="3711" y="1184"/>
                  <a:pt x="3642" y="1067"/>
                  <a:pt x="3713" y="901"/>
                </a:cubicBezTo>
                <a:cubicBezTo>
                  <a:pt x="3716" y="893"/>
                  <a:pt x="3715" y="883"/>
                  <a:pt x="3710" y="876"/>
                </a:cubicBezTo>
                <a:cubicBezTo>
                  <a:pt x="3683" y="839"/>
                  <a:pt x="3683" y="839"/>
                  <a:pt x="3683" y="839"/>
                </a:cubicBezTo>
                <a:cubicBezTo>
                  <a:pt x="3656" y="802"/>
                  <a:pt x="3656" y="802"/>
                  <a:pt x="3656" y="802"/>
                </a:cubicBezTo>
                <a:cubicBezTo>
                  <a:pt x="3651" y="795"/>
                  <a:pt x="3643" y="791"/>
                  <a:pt x="3634" y="792"/>
                </a:cubicBezTo>
                <a:cubicBezTo>
                  <a:pt x="3453" y="808"/>
                  <a:pt x="3366" y="708"/>
                  <a:pt x="3366" y="708"/>
                </a:cubicBezTo>
                <a:cubicBezTo>
                  <a:pt x="3366" y="708"/>
                  <a:pt x="3264" y="619"/>
                  <a:pt x="3280" y="438"/>
                </a:cubicBezTo>
                <a:cubicBezTo>
                  <a:pt x="3281" y="429"/>
                  <a:pt x="3277" y="421"/>
                  <a:pt x="3270" y="416"/>
                </a:cubicBezTo>
                <a:cubicBezTo>
                  <a:pt x="3233" y="389"/>
                  <a:pt x="3233" y="389"/>
                  <a:pt x="3233" y="389"/>
                </a:cubicBezTo>
                <a:cubicBezTo>
                  <a:pt x="3196" y="362"/>
                  <a:pt x="3196" y="362"/>
                  <a:pt x="3196" y="362"/>
                </a:cubicBezTo>
                <a:cubicBezTo>
                  <a:pt x="3189" y="357"/>
                  <a:pt x="3179" y="356"/>
                  <a:pt x="3171" y="359"/>
                </a:cubicBezTo>
                <a:cubicBezTo>
                  <a:pt x="3005" y="430"/>
                  <a:pt x="2890" y="362"/>
                  <a:pt x="2890" y="362"/>
                </a:cubicBezTo>
                <a:cubicBezTo>
                  <a:pt x="2890" y="362"/>
                  <a:pt x="2766" y="309"/>
                  <a:pt x="2725" y="132"/>
                </a:cubicBezTo>
                <a:cubicBezTo>
                  <a:pt x="2723" y="123"/>
                  <a:pt x="2717" y="117"/>
                  <a:pt x="2709" y="114"/>
                </a:cubicBezTo>
                <a:cubicBezTo>
                  <a:pt x="2665" y="100"/>
                  <a:pt x="2665" y="100"/>
                  <a:pt x="2665" y="100"/>
                </a:cubicBezTo>
                <a:cubicBezTo>
                  <a:pt x="2622" y="86"/>
                  <a:pt x="2622" y="86"/>
                  <a:pt x="2622" y="86"/>
                </a:cubicBezTo>
                <a:cubicBezTo>
                  <a:pt x="2613" y="83"/>
                  <a:pt x="2604" y="85"/>
                  <a:pt x="2597" y="90"/>
                </a:cubicBezTo>
                <a:cubicBezTo>
                  <a:pt x="2461" y="210"/>
                  <a:pt x="2331" y="180"/>
                  <a:pt x="2331" y="180"/>
                </a:cubicBezTo>
                <a:cubicBezTo>
                  <a:pt x="2331" y="180"/>
                  <a:pt x="2196" y="168"/>
                  <a:pt x="2103" y="12"/>
                </a:cubicBezTo>
                <a:cubicBezTo>
                  <a:pt x="2099" y="5"/>
                  <a:pt x="2091" y="0"/>
                  <a:pt x="2082" y="0"/>
                </a:cubicBezTo>
                <a:cubicBezTo>
                  <a:pt x="2036" y="0"/>
                  <a:pt x="2036" y="0"/>
                  <a:pt x="2036" y="0"/>
                </a:cubicBezTo>
                <a:cubicBezTo>
                  <a:pt x="1990" y="0"/>
                  <a:pt x="1990" y="0"/>
                  <a:pt x="1990" y="0"/>
                </a:cubicBezTo>
                <a:cubicBezTo>
                  <a:pt x="1981" y="0"/>
                  <a:pt x="1973" y="5"/>
                  <a:pt x="1969" y="12"/>
                </a:cubicBezTo>
                <a:cubicBezTo>
                  <a:pt x="1876" y="168"/>
                  <a:pt x="1743" y="179"/>
                  <a:pt x="1743" y="179"/>
                </a:cubicBezTo>
                <a:cubicBezTo>
                  <a:pt x="1743" y="179"/>
                  <a:pt x="1611" y="210"/>
                  <a:pt x="1475" y="90"/>
                </a:cubicBezTo>
                <a:cubicBezTo>
                  <a:pt x="1468" y="85"/>
                  <a:pt x="1459" y="83"/>
                  <a:pt x="1450" y="86"/>
                </a:cubicBezTo>
                <a:cubicBezTo>
                  <a:pt x="1407" y="100"/>
                  <a:pt x="1407" y="100"/>
                  <a:pt x="1407" y="100"/>
                </a:cubicBezTo>
                <a:cubicBezTo>
                  <a:pt x="1363" y="114"/>
                  <a:pt x="1363" y="114"/>
                  <a:pt x="1363" y="114"/>
                </a:cubicBezTo>
                <a:cubicBezTo>
                  <a:pt x="1355" y="117"/>
                  <a:pt x="1349" y="123"/>
                  <a:pt x="1347" y="132"/>
                </a:cubicBezTo>
                <a:cubicBezTo>
                  <a:pt x="1306" y="309"/>
                  <a:pt x="1184" y="361"/>
                  <a:pt x="1184" y="361"/>
                </a:cubicBezTo>
                <a:cubicBezTo>
                  <a:pt x="1184" y="361"/>
                  <a:pt x="1067" y="430"/>
                  <a:pt x="901" y="359"/>
                </a:cubicBezTo>
                <a:cubicBezTo>
                  <a:pt x="893" y="356"/>
                  <a:pt x="883" y="357"/>
                  <a:pt x="876" y="362"/>
                </a:cubicBezTo>
                <a:cubicBezTo>
                  <a:pt x="839" y="389"/>
                  <a:pt x="839" y="389"/>
                  <a:pt x="839" y="389"/>
                </a:cubicBezTo>
                <a:cubicBezTo>
                  <a:pt x="802" y="416"/>
                  <a:pt x="802" y="416"/>
                  <a:pt x="802" y="416"/>
                </a:cubicBezTo>
                <a:cubicBezTo>
                  <a:pt x="795" y="421"/>
                  <a:pt x="791" y="430"/>
                  <a:pt x="792" y="438"/>
                </a:cubicBezTo>
                <a:cubicBezTo>
                  <a:pt x="808" y="619"/>
                  <a:pt x="708" y="706"/>
                  <a:pt x="708" y="706"/>
                </a:cubicBezTo>
                <a:cubicBezTo>
                  <a:pt x="708" y="706"/>
                  <a:pt x="619" y="808"/>
                  <a:pt x="438" y="792"/>
                </a:cubicBezTo>
                <a:cubicBezTo>
                  <a:pt x="429" y="791"/>
                  <a:pt x="421" y="795"/>
                  <a:pt x="416" y="802"/>
                </a:cubicBezTo>
                <a:cubicBezTo>
                  <a:pt x="389" y="839"/>
                  <a:pt x="389" y="839"/>
                  <a:pt x="389" y="839"/>
                </a:cubicBezTo>
                <a:cubicBezTo>
                  <a:pt x="362" y="876"/>
                  <a:pt x="362" y="876"/>
                  <a:pt x="362" y="876"/>
                </a:cubicBezTo>
                <a:cubicBezTo>
                  <a:pt x="357" y="883"/>
                  <a:pt x="356" y="893"/>
                  <a:pt x="359" y="901"/>
                </a:cubicBezTo>
                <a:cubicBezTo>
                  <a:pt x="430" y="1067"/>
                  <a:pt x="362" y="1182"/>
                  <a:pt x="362" y="1182"/>
                </a:cubicBezTo>
                <a:cubicBezTo>
                  <a:pt x="362" y="1182"/>
                  <a:pt x="309" y="1306"/>
                  <a:pt x="132" y="1347"/>
                </a:cubicBezTo>
                <a:cubicBezTo>
                  <a:pt x="123" y="1349"/>
                  <a:pt x="117" y="1355"/>
                  <a:pt x="114" y="1363"/>
                </a:cubicBezTo>
                <a:cubicBezTo>
                  <a:pt x="100" y="1407"/>
                  <a:pt x="100" y="1407"/>
                  <a:pt x="100" y="1407"/>
                </a:cubicBezTo>
                <a:cubicBezTo>
                  <a:pt x="86" y="1450"/>
                  <a:pt x="86" y="1450"/>
                  <a:pt x="86" y="1450"/>
                </a:cubicBezTo>
                <a:cubicBezTo>
                  <a:pt x="83" y="1459"/>
                  <a:pt x="85" y="1468"/>
                  <a:pt x="90" y="1475"/>
                </a:cubicBezTo>
                <a:cubicBezTo>
                  <a:pt x="210" y="1611"/>
                  <a:pt x="180" y="1741"/>
                  <a:pt x="180" y="1741"/>
                </a:cubicBezTo>
                <a:cubicBezTo>
                  <a:pt x="180" y="1741"/>
                  <a:pt x="168" y="1876"/>
                  <a:pt x="12" y="1969"/>
                </a:cubicBezTo>
                <a:cubicBezTo>
                  <a:pt x="5" y="1973"/>
                  <a:pt x="0" y="1981"/>
                  <a:pt x="0" y="1990"/>
                </a:cubicBezTo>
                <a:cubicBezTo>
                  <a:pt x="0" y="2036"/>
                  <a:pt x="0" y="2036"/>
                  <a:pt x="0" y="2036"/>
                </a:cubicBezTo>
                <a:cubicBezTo>
                  <a:pt x="0" y="2082"/>
                  <a:pt x="0" y="2082"/>
                  <a:pt x="0" y="2082"/>
                </a:cubicBezTo>
                <a:cubicBezTo>
                  <a:pt x="0" y="2091"/>
                  <a:pt x="5" y="2099"/>
                  <a:pt x="12" y="2103"/>
                </a:cubicBezTo>
                <a:cubicBezTo>
                  <a:pt x="168" y="2196"/>
                  <a:pt x="179" y="2329"/>
                  <a:pt x="179" y="2329"/>
                </a:cubicBezTo>
                <a:cubicBezTo>
                  <a:pt x="179" y="2329"/>
                  <a:pt x="210" y="2461"/>
                  <a:pt x="90" y="2597"/>
                </a:cubicBezTo>
                <a:cubicBezTo>
                  <a:pt x="85" y="2604"/>
                  <a:pt x="83" y="2613"/>
                  <a:pt x="86" y="2622"/>
                </a:cubicBezTo>
                <a:cubicBezTo>
                  <a:pt x="100" y="2665"/>
                  <a:pt x="100" y="2665"/>
                  <a:pt x="100" y="2665"/>
                </a:cubicBezTo>
                <a:cubicBezTo>
                  <a:pt x="114" y="2709"/>
                  <a:pt x="114" y="2709"/>
                  <a:pt x="114" y="2709"/>
                </a:cubicBezTo>
                <a:cubicBezTo>
                  <a:pt x="117" y="2717"/>
                  <a:pt x="123" y="2723"/>
                  <a:pt x="132" y="2725"/>
                </a:cubicBezTo>
                <a:cubicBezTo>
                  <a:pt x="309" y="2766"/>
                  <a:pt x="362" y="2890"/>
                  <a:pt x="362" y="2890"/>
                </a:cubicBezTo>
                <a:cubicBezTo>
                  <a:pt x="362" y="2890"/>
                  <a:pt x="430" y="3005"/>
                  <a:pt x="359" y="3171"/>
                </a:cubicBezTo>
                <a:cubicBezTo>
                  <a:pt x="356" y="3179"/>
                  <a:pt x="357" y="3189"/>
                  <a:pt x="362" y="3196"/>
                </a:cubicBezTo>
                <a:cubicBezTo>
                  <a:pt x="389" y="3233"/>
                  <a:pt x="389" y="3233"/>
                  <a:pt x="389" y="3233"/>
                </a:cubicBezTo>
                <a:cubicBezTo>
                  <a:pt x="416" y="3270"/>
                  <a:pt x="416" y="3270"/>
                  <a:pt x="416" y="3270"/>
                </a:cubicBezTo>
                <a:cubicBezTo>
                  <a:pt x="421" y="3277"/>
                  <a:pt x="429" y="3281"/>
                  <a:pt x="438" y="3280"/>
                </a:cubicBezTo>
                <a:cubicBezTo>
                  <a:pt x="619" y="3264"/>
                  <a:pt x="708" y="3366"/>
                  <a:pt x="708" y="3366"/>
                </a:cubicBezTo>
                <a:cubicBezTo>
                  <a:pt x="708" y="3366"/>
                  <a:pt x="808" y="3453"/>
                  <a:pt x="792" y="3634"/>
                </a:cubicBezTo>
                <a:cubicBezTo>
                  <a:pt x="791" y="3643"/>
                  <a:pt x="795" y="3651"/>
                  <a:pt x="802" y="3656"/>
                </a:cubicBezTo>
                <a:cubicBezTo>
                  <a:pt x="839" y="3683"/>
                  <a:pt x="839" y="3683"/>
                  <a:pt x="839" y="3683"/>
                </a:cubicBezTo>
                <a:cubicBezTo>
                  <a:pt x="876" y="3710"/>
                  <a:pt x="876" y="3710"/>
                  <a:pt x="876" y="3710"/>
                </a:cubicBezTo>
                <a:cubicBezTo>
                  <a:pt x="883" y="3715"/>
                  <a:pt x="893" y="3716"/>
                  <a:pt x="901" y="3713"/>
                </a:cubicBezTo>
                <a:cubicBezTo>
                  <a:pt x="1067" y="3642"/>
                  <a:pt x="1184" y="3711"/>
                  <a:pt x="1184" y="3711"/>
                </a:cubicBezTo>
                <a:cubicBezTo>
                  <a:pt x="1184" y="3711"/>
                  <a:pt x="1306" y="3764"/>
                  <a:pt x="1347" y="3940"/>
                </a:cubicBezTo>
                <a:cubicBezTo>
                  <a:pt x="1349" y="3949"/>
                  <a:pt x="1355" y="3955"/>
                  <a:pt x="1363" y="3958"/>
                </a:cubicBezTo>
                <a:cubicBezTo>
                  <a:pt x="1407" y="3972"/>
                  <a:pt x="1407" y="3972"/>
                  <a:pt x="1407" y="3972"/>
                </a:cubicBezTo>
                <a:cubicBezTo>
                  <a:pt x="1450" y="3987"/>
                  <a:pt x="1450" y="3987"/>
                  <a:pt x="1450" y="3987"/>
                </a:cubicBezTo>
                <a:cubicBezTo>
                  <a:pt x="1459" y="3989"/>
                  <a:pt x="1468" y="3987"/>
                  <a:pt x="1475" y="3982"/>
                </a:cubicBezTo>
                <a:cubicBezTo>
                  <a:pt x="1611" y="3862"/>
                  <a:pt x="1743" y="3893"/>
                  <a:pt x="1743" y="3893"/>
                </a:cubicBezTo>
                <a:cubicBezTo>
                  <a:pt x="1743" y="3893"/>
                  <a:pt x="1876" y="3904"/>
                  <a:pt x="1969" y="4060"/>
                </a:cubicBezTo>
                <a:cubicBezTo>
                  <a:pt x="1973" y="4067"/>
                  <a:pt x="1981" y="4072"/>
                  <a:pt x="1990" y="4072"/>
                </a:cubicBezTo>
                <a:cubicBezTo>
                  <a:pt x="2036" y="4072"/>
                  <a:pt x="2036" y="4072"/>
                  <a:pt x="2036" y="4072"/>
                </a:cubicBezTo>
                <a:cubicBezTo>
                  <a:pt x="2082" y="4072"/>
                  <a:pt x="2082" y="4072"/>
                  <a:pt x="2082" y="4072"/>
                </a:cubicBezTo>
                <a:cubicBezTo>
                  <a:pt x="2091" y="4072"/>
                  <a:pt x="2099" y="4067"/>
                  <a:pt x="2103" y="4060"/>
                </a:cubicBezTo>
                <a:cubicBezTo>
                  <a:pt x="2196" y="3904"/>
                  <a:pt x="2331" y="3892"/>
                  <a:pt x="2331" y="3892"/>
                </a:cubicBezTo>
                <a:cubicBezTo>
                  <a:pt x="2331" y="3892"/>
                  <a:pt x="2461" y="3862"/>
                  <a:pt x="2597" y="3982"/>
                </a:cubicBezTo>
                <a:cubicBezTo>
                  <a:pt x="2604" y="3987"/>
                  <a:pt x="2613" y="3989"/>
                  <a:pt x="2622" y="3987"/>
                </a:cubicBezTo>
                <a:cubicBezTo>
                  <a:pt x="2665" y="3972"/>
                  <a:pt x="2665" y="3972"/>
                  <a:pt x="2665" y="3972"/>
                </a:cubicBezTo>
                <a:cubicBezTo>
                  <a:pt x="2709" y="3958"/>
                  <a:pt x="2709" y="3958"/>
                  <a:pt x="2709" y="3958"/>
                </a:cubicBezTo>
                <a:cubicBezTo>
                  <a:pt x="2717" y="3955"/>
                  <a:pt x="2723" y="3949"/>
                  <a:pt x="2725" y="3940"/>
                </a:cubicBezTo>
                <a:cubicBezTo>
                  <a:pt x="2766" y="3764"/>
                  <a:pt x="2890" y="3710"/>
                  <a:pt x="2890" y="3710"/>
                </a:cubicBezTo>
                <a:cubicBezTo>
                  <a:pt x="2890" y="3710"/>
                  <a:pt x="3005" y="3642"/>
                  <a:pt x="3171" y="3713"/>
                </a:cubicBezTo>
                <a:cubicBezTo>
                  <a:pt x="3179" y="3716"/>
                  <a:pt x="3189" y="3715"/>
                  <a:pt x="3196" y="3710"/>
                </a:cubicBezTo>
                <a:cubicBezTo>
                  <a:pt x="3233" y="3683"/>
                  <a:pt x="3233" y="3683"/>
                  <a:pt x="3233" y="3683"/>
                </a:cubicBezTo>
                <a:cubicBezTo>
                  <a:pt x="3270" y="3656"/>
                  <a:pt x="3270" y="3656"/>
                  <a:pt x="3270" y="3656"/>
                </a:cubicBezTo>
                <a:cubicBezTo>
                  <a:pt x="3277" y="3651"/>
                  <a:pt x="3281" y="3643"/>
                  <a:pt x="3280" y="3634"/>
                </a:cubicBezTo>
                <a:cubicBezTo>
                  <a:pt x="3264" y="3453"/>
                  <a:pt x="3366" y="3364"/>
                  <a:pt x="3366" y="3364"/>
                </a:cubicBezTo>
                <a:cubicBezTo>
                  <a:pt x="3366" y="3364"/>
                  <a:pt x="3453" y="3264"/>
                  <a:pt x="3634" y="3280"/>
                </a:cubicBezTo>
                <a:cubicBezTo>
                  <a:pt x="3643" y="3281"/>
                  <a:pt x="3651" y="3277"/>
                  <a:pt x="3656" y="3270"/>
                </a:cubicBezTo>
                <a:cubicBezTo>
                  <a:pt x="3683" y="3233"/>
                  <a:pt x="3683" y="3233"/>
                  <a:pt x="3683" y="3233"/>
                </a:cubicBezTo>
                <a:cubicBezTo>
                  <a:pt x="3710" y="3196"/>
                  <a:pt x="3710" y="3196"/>
                  <a:pt x="3710" y="3196"/>
                </a:cubicBezTo>
                <a:cubicBezTo>
                  <a:pt x="3715" y="3189"/>
                  <a:pt x="3716" y="3179"/>
                  <a:pt x="3713" y="3171"/>
                </a:cubicBezTo>
                <a:cubicBezTo>
                  <a:pt x="3642" y="3005"/>
                  <a:pt x="3711" y="2888"/>
                  <a:pt x="3711" y="2888"/>
                </a:cubicBezTo>
                <a:cubicBezTo>
                  <a:pt x="3711" y="2888"/>
                  <a:pt x="3763" y="2766"/>
                  <a:pt x="3940" y="2725"/>
                </a:cubicBezTo>
                <a:cubicBezTo>
                  <a:pt x="3949" y="2723"/>
                  <a:pt x="3955" y="2717"/>
                  <a:pt x="3958" y="2709"/>
                </a:cubicBezTo>
                <a:cubicBezTo>
                  <a:pt x="3972" y="2665"/>
                  <a:pt x="3972" y="2665"/>
                  <a:pt x="3972" y="2665"/>
                </a:cubicBezTo>
                <a:cubicBezTo>
                  <a:pt x="3986" y="2622"/>
                  <a:pt x="3986" y="2622"/>
                  <a:pt x="3986" y="2622"/>
                </a:cubicBezTo>
                <a:cubicBezTo>
                  <a:pt x="3989" y="2613"/>
                  <a:pt x="3987" y="2604"/>
                  <a:pt x="3982" y="2597"/>
                </a:cubicBezTo>
                <a:cubicBezTo>
                  <a:pt x="3862" y="2461"/>
                  <a:pt x="3893" y="2329"/>
                  <a:pt x="3893" y="2329"/>
                </a:cubicBezTo>
                <a:cubicBezTo>
                  <a:pt x="3893" y="2329"/>
                  <a:pt x="3904" y="2196"/>
                  <a:pt x="4060" y="2103"/>
                </a:cubicBezTo>
                <a:cubicBezTo>
                  <a:pt x="4067" y="2099"/>
                  <a:pt x="4072" y="2091"/>
                  <a:pt x="4072" y="2082"/>
                </a:cubicBezTo>
                <a:cubicBezTo>
                  <a:pt x="4072" y="2036"/>
                  <a:pt x="4072" y="2036"/>
                  <a:pt x="4072" y="2036"/>
                </a:cubicBezTo>
                <a:cubicBezTo>
                  <a:pt x="4072" y="1990"/>
                  <a:pt x="4072" y="1990"/>
                  <a:pt x="4072" y="1990"/>
                </a:cubicBezTo>
                <a:cubicBezTo>
                  <a:pt x="4072" y="1981"/>
                  <a:pt x="4067" y="1973"/>
                  <a:pt x="4060" y="1969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vert="horz" wrap="square" lIns="54864" tIns="27432" rIns="54864" bIns="27432" numCol="1" anchor="ctr" anchorCtr="0" compatLnSpc="1">
            <a:prstTxWarp prst="textNoShape">
              <a:avLst/>
            </a:prstTxWarp>
          </a:bodyPr>
          <a:lstStyle/>
          <a:p>
            <a:pPr algn="ctr" defTabSz="1097280">
              <a:defRPr/>
            </a:pPr>
            <a:r>
              <a:rPr lang="fr-BE" sz="144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BU &amp; Supply Chain</a:t>
            </a:r>
          </a:p>
        </p:txBody>
      </p:sp>
      <p:sp>
        <p:nvSpPr>
          <p:cNvPr id="30" name="Freeform 29"/>
          <p:cNvSpPr>
            <a:spLocks noChangeAspect="1"/>
          </p:cNvSpPr>
          <p:nvPr/>
        </p:nvSpPr>
        <p:spPr bwMode="auto">
          <a:xfrm>
            <a:off x="7578622" y="3641696"/>
            <a:ext cx="1096411" cy="1096412"/>
          </a:xfrm>
          <a:custGeom>
            <a:avLst/>
            <a:gdLst>
              <a:gd name="T0" fmla="*/ 3892 w 4072"/>
              <a:gd name="T1" fmla="*/ 1741 h 4072"/>
              <a:gd name="T2" fmla="*/ 3986 w 4072"/>
              <a:gd name="T3" fmla="*/ 1450 h 4072"/>
              <a:gd name="T4" fmla="*/ 3958 w 4072"/>
              <a:gd name="T5" fmla="*/ 1363 h 4072"/>
              <a:gd name="T6" fmla="*/ 3711 w 4072"/>
              <a:gd name="T7" fmla="*/ 1184 h 4072"/>
              <a:gd name="T8" fmla="*/ 3710 w 4072"/>
              <a:gd name="T9" fmla="*/ 876 h 4072"/>
              <a:gd name="T10" fmla="*/ 3656 w 4072"/>
              <a:gd name="T11" fmla="*/ 802 h 4072"/>
              <a:gd name="T12" fmla="*/ 3366 w 4072"/>
              <a:gd name="T13" fmla="*/ 708 h 4072"/>
              <a:gd name="T14" fmla="*/ 3270 w 4072"/>
              <a:gd name="T15" fmla="*/ 416 h 4072"/>
              <a:gd name="T16" fmla="*/ 3196 w 4072"/>
              <a:gd name="T17" fmla="*/ 362 h 4072"/>
              <a:gd name="T18" fmla="*/ 2890 w 4072"/>
              <a:gd name="T19" fmla="*/ 362 h 4072"/>
              <a:gd name="T20" fmla="*/ 2709 w 4072"/>
              <a:gd name="T21" fmla="*/ 114 h 4072"/>
              <a:gd name="T22" fmla="*/ 2622 w 4072"/>
              <a:gd name="T23" fmla="*/ 86 h 4072"/>
              <a:gd name="T24" fmla="*/ 2331 w 4072"/>
              <a:gd name="T25" fmla="*/ 180 h 4072"/>
              <a:gd name="T26" fmla="*/ 2082 w 4072"/>
              <a:gd name="T27" fmla="*/ 0 h 4072"/>
              <a:gd name="T28" fmla="*/ 1990 w 4072"/>
              <a:gd name="T29" fmla="*/ 0 h 4072"/>
              <a:gd name="T30" fmla="*/ 1743 w 4072"/>
              <a:gd name="T31" fmla="*/ 179 h 4072"/>
              <a:gd name="T32" fmla="*/ 1450 w 4072"/>
              <a:gd name="T33" fmla="*/ 86 h 4072"/>
              <a:gd name="T34" fmla="*/ 1363 w 4072"/>
              <a:gd name="T35" fmla="*/ 114 h 4072"/>
              <a:gd name="T36" fmla="*/ 1184 w 4072"/>
              <a:gd name="T37" fmla="*/ 361 h 4072"/>
              <a:gd name="T38" fmla="*/ 876 w 4072"/>
              <a:gd name="T39" fmla="*/ 362 h 4072"/>
              <a:gd name="T40" fmla="*/ 802 w 4072"/>
              <a:gd name="T41" fmla="*/ 416 h 4072"/>
              <a:gd name="T42" fmla="*/ 708 w 4072"/>
              <a:gd name="T43" fmla="*/ 706 h 4072"/>
              <a:gd name="T44" fmla="*/ 416 w 4072"/>
              <a:gd name="T45" fmla="*/ 802 h 4072"/>
              <a:gd name="T46" fmla="*/ 362 w 4072"/>
              <a:gd name="T47" fmla="*/ 876 h 4072"/>
              <a:gd name="T48" fmla="*/ 362 w 4072"/>
              <a:gd name="T49" fmla="*/ 1182 h 4072"/>
              <a:gd name="T50" fmla="*/ 114 w 4072"/>
              <a:gd name="T51" fmla="*/ 1363 h 4072"/>
              <a:gd name="T52" fmla="*/ 86 w 4072"/>
              <a:gd name="T53" fmla="*/ 1450 h 4072"/>
              <a:gd name="T54" fmla="*/ 180 w 4072"/>
              <a:gd name="T55" fmla="*/ 1741 h 4072"/>
              <a:gd name="T56" fmla="*/ 0 w 4072"/>
              <a:gd name="T57" fmla="*/ 1990 h 4072"/>
              <a:gd name="T58" fmla="*/ 0 w 4072"/>
              <a:gd name="T59" fmla="*/ 2082 h 4072"/>
              <a:gd name="T60" fmla="*/ 179 w 4072"/>
              <a:gd name="T61" fmla="*/ 2329 h 4072"/>
              <a:gd name="T62" fmla="*/ 86 w 4072"/>
              <a:gd name="T63" fmla="*/ 2622 h 4072"/>
              <a:gd name="T64" fmla="*/ 114 w 4072"/>
              <a:gd name="T65" fmla="*/ 2709 h 4072"/>
              <a:gd name="T66" fmla="*/ 362 w 4072"/>
              <a:gd name="T67" fmla="*/ 2890 h 4072"/>
              <a:gd name="T68" fmla="*/ 362 w 4072"/>
              <a:gd name="T69" fmla="*/ 3196 h 4072"/>
              <a:gd name="T70" fmla="*/ 416 w 4072"/>
              <a:gd name="T71" fmla="*/ 3270 h 4072"/>
              <a:gd name="T72" fmla="*/ 708 w 4072"/>
              <a:gd name="T73" fmla="*/ 3366 h 4072"/>
              <a:gd name="T74" fmla="*/ 802 w 4072"/>
              <a:gd name="T75" fmla="*/ 3656 h 4072"/>
              <a:gd name="T76" fmla="*/ 876 w 4072"/>
              <a:gd name="T77" fmla="*/ 3710 h 4072"/>
              <a:gd name="T78" fmla="*/ 1184 w 4072"/>
              <a:gd name="T79" fmla="*/ 3711 h 4072"/>
              <a:gd name="T80" fmla="*/ 1363 w 4072"/>
              <a:gd name="T81" fmla="*/ 3958 h 4072"/>
              <a:gd name="T82" fmla="*/ 1450 w 4072"/>
              <a:gd name="T83" fmla="*/ 3987 h 4072"/>
              <a:gd name="T84" fmla="*/ 1743 w 4072"/>
              <a:gd name="T85" fmla="*/ 3893 h 4072"/>
              <a:gd name="T86" fmla="*/ 1990 w 4072"/>
              <a:gd name="T87" fmla="*/ 4072 h 4072"/>
              <a:gd name="T88" fmla="*/ 2082 w 4072"/>
              <a:gd name="T89" fmla="*/ 4072 h 4072"/>
              <a:gd name="T90" fmla="*/ 2331 w 4072"/>
              <a:gd name="T91" fmla="*/ 3892 h 4072"/>
              <a:gd name="T92" fmla="*/ 2622 w 4072"/>
              <a:gd name="T93" fmla="*/ 3987 h 4072"/>
              <a:gd name="T94" fmla="*/ 2709 w 4072"/>
              <a:gd name="T95" fmla="*/ 3958 h 4072"/>
              <a:gd name="T96" fmla="*/ 2890 w 4072"/>
              <a:gd name="T97" fmla="*/ 3710 h 4072"/>
              <a:gd name="T98" fmla="*/ 3196 w 4072"/>
              <a:gd name="T99" fmla="*/ 3710 h 4072"/>
              <a:gd name="T100" fmla="*/ 3270 w 4072"/>
              <a:gd name="T101" fmla="*/ 3656 h 4072"/>
              <a:gd name="T102" fmla="*/ 3366 w 4072"/>
              <a:gd name="T103" fmla="*/ 3364 h 4072"/>
              <a:gd name="T104" fmla="*/ 3656 w 4072"/>
              <a:gd name="T105" fmla="*/ 3270 h 4072"/>
              <a:gd name="T106" fmla="*/ 3710 w 4072"/>
              <a:gd name="T107" fmla="*/ 3196 h 4072"/>
              <a:gd name="T108" fmla="*/ 3711 w 4072"/>
              <a:gd name="T109" fmla="*/ 2888 h 4072"/>
              <a:gd name="T110" fmla="*/ 3958 w 4072"/>
              <a:gd name="T111" fmla="*/ 2709 h 4072"/>
              <a:gd name="T112" fmla="*/ 3986 w 4072"/>
              <a:gd name="T113" fmla="*/ 2622 h 4072"/>
              <a:gd name="T114" fmla="*/ 3893 w 4072"/>
              <a:gd name="T115" fmla="*/ 2329 h 4072"/>
              <a:gd name="T116" fmla="*/ 4072 w 4072"/>
              <a:gd name="T117" fmla="*/ 2082 h 4072"/>
              <a:gd name="T118" fmla="*/ 4072 w 4072"/>
              <a:gd name="T119" fmla="*/ 1990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072" h="4072">
                <a:moveTo>
                  <a:pt x="4060" y="1969"/>
                </a:moveTo>
                <a:cubicBezTo>
                  <a:pt x="3904" y="1876"/>
                  <a:pt x="3892" y="1741"/>
                  <a:pt x="3892" y="1741"/>
                </a:cubicBezTo>
                <a:cubicBezTo>
                  <a:pt x="3892" y="1741"/>
                  <a:pt x="3862" y="1611"/>
                  <a:pt x="3982" y="1475"/>
                </a:cubicBezTo>
                <a:cubicBezTo>
                  <a:pt x="3987" y="1468"/>
                  <a:pt x="3989" y="1459"/>
                  <a:pt x="3986" y="1450"/>
                </a:cubicBezTo>
                <a:cubicBezTo>
                  <a:pt x="3972" y="1407"/>
                  <a:pt x="3972" y="1407"/>
                  <a:pt x="3972" y="1407"/>
                </a:cubicBezTo>
                <a:cubicBezTo>
                  <a:pt x="3958" y="1363"/>
                  <a:pt x="3958" y="1363"/>
                  <a:pt x="3958" y="1363"/>
                </a:cubicBezTo>
                <a:cubicBezTo>
                  <a:pt x="3955" y="1355"/>
                  <a:pt x="3949" y="1349"/>
                  <a:pt x="3940" y="1347"/>
                </a:cubicBezTo>
                <a:cubicBezTo>
                  <a:pt x="3763" y="1306"/>
                  <a:pt x="3711" y="1184"/>
                  <a:pt x="3711" y="1184"/>
                </a:cubicBezTo>
                <a:cubicBezTo>
                  <a:pt x="3711" y="1184"/>
                  <a:pt x="3642" y="1067"/>
                  <a:pt x="3713" y="901"/>
                </a:cubicBezTo>
                <a:cubicBezTo>
                  <a:pt x="3716" y="893"/>
                  <a:pt x="3715" y="883"/>
                  <a:pt x="3710" y="876"/>
                </a:cubicBezTo>
                <a:cubicBezTo>
                  <a:pt x="3683" y="839"/>
                  <a:pt x="3683" y="839"/>
                  <a:pt x="3683" y="839"/>
                </a:cubicBezTo>
                <a:cubicBezTo>
                  <a:pt x="3656" y="802"/>
                  <a:pt x="3656" y="802"/>
                  <a:pt x="3656" y="802"/>
                </a:cubicBezTo>
                <a:cubicBezTo>
                  <a:pt x="3651" y="795"/>
                  <a:pt x="3643" y="791"/>
                  <a:pt x="3634" y="792"/>
                </a:cubicBezTo>
                <a:cubicBezTo>
                  <a:pt x="3453" y="808"/>
                  <a:pt x="3366" y="708"/>
                  <a:pt x="3366" y="708"/>
                </a:cubicBezTo>
                <a:cubicBezTo>
                  <a:pt x="3366" y="708"/>
                  <a:pt x="3264" y="619"/>
                  <a:pt x="3280" y="438"/>
                </a:cubicBezTo>
                <a:cubicBezTo>
                  <a:pt x="3281" y="429"/>
                  <a:pt x="3277" y="421"/>
                  <a:pt x="3270" y="416"/>
                </a:cubicBezTo>
                <a:cubicBezTo>
                  <a:pt x="3233" y="389"/>
                  <a:pt x="3233" y="389"/>
                  <a:pt x="3233" y="389"/>
                </a:cubicBezTo>
                <a:cubicBezTo>
                  <a:pt x="3196" y="362"/>
                  <a:pt x="3196" y="362"/>
                  <a:pt x="3196" y="362"/>
                </a:cubicBezTo>
                <a:cubicBezTo>
                  <a:pt x="3189" y="357"/>
                  <a:pt x="3179" y="356"/>
                  <a:pt x="3171" y="359"/>
                </a:cubicBezTo>
                <a:cubicBezTo>
                  <a:pt x="3005" y="430"/>
                  <a:pt x="2890" y="362"/>
                  <a:pt x="2890" y="362"/>
                </a:cubicBezTo>
                <a:cubicBezTo>
                  <a:pt x="2890" y="362"/>
                  <a:pt x="2766" y="309"/>
                  <a:pt x="2725" y="132"/>
                </a:cubicBezTo>
                <a:cubicBezTo>
                  <a:pt x="2723" y="123"/>
                  <a:pt x="2717" y="117"/>
                  <a:pt x="2709" y="114"/>
                </a:cubicBezTo>
                <a:cubicBezTo>
                  <a:pt x="2665" y="100"/>
                  <a:pt x="2665" y="100"/>
                  <a:pt x="2665" y="100"/>
                </a:cubicBezTo>
                <a:cubicBezTo>
                  <a:pt x="2622" y="86"/>
                  <a:pt x="2622" y="86"/>
                  <a:pt x="2622" y="86"/>
                </a:cubicBezTo>
                <a:cubicBezTo>
                  <a:pt x="2613" y="83"/>
                  <a:pt x="2604" y="85"/>
                  <a:pt x="2597" y="90"/>
                </a:cubicBezTo>
                <a:cubicBezTo>
                  <a:pt x="2461" y="210"/>
                  <a:pt x="2331" y="180"/>
                  <a:pt x="2331" y="180"/>
                </a:cubicBezTo>
                <a:cubicBezTo>
                  <a:pt x="2331" y="180"/>
                  <a:pt x="2196" y="168"/>
                  <a:pt x="2103" y="12"/>
                </a:cubicBezTo>
                <a:cubicBezTo>
                  <a:pt x="2099" y="5"/>
                  <a:pt x="2091" y="0"/>
                  <a:pt x="2082" y="0"/>
                </a:cubicBezTo>
                <a:cubicBezTo>
                  <a:pt x="2036" y="0"/>
                  <a:pt x="2036" y="0"/>
                  <a:pt x="2036" y="0"/>
                </a:cubicBezTo>
                <a:cubicBezTo>
                  <a:pt x="1990" y="0"/>
                  <a:pt x="1990" y="0"/>
                  <a:pt x="1990" y="0"/>
                </a:cubicBezTo>
                <a:cubicBezTo>
                  <a:pt x="1981" y="0"/>
                  <a:pt x="1973" y="5"/>
                  <a:pt x="1969" y="12"/>
                </a:cubicBezTo>
                <a:cubicBezTo>
                  <a:pt x="1876" y="168"/>
                  <a:pt x="1743" y="179"/>
                  <a:pt x="1743" y="179"/>
                </a:cubicBezTo>
                <a:cubicBezTo>
                  <a:pt x="1743" y="179"/>
                  <a:pt x="1611" y="210"/>
                  <a:pt x="1475" y="90"/>
                </a:cubicBezTo>
                <a:cubicBezTo>
                  <a:pt x="1468" y="85"/>
                  <a:pt x="1459" y="83"/>
                  <a:pt x="1450" y="86"/>
                </a:cubicBezTo>
                <a:cubicBezTo>
                  <a:pt x="1407" y="100"/>
                  <a:pt x="1407" y="100"/>
                  <a:pt x="1407" y="100"/>
                </a:cubicBezTo>
                <a:cubicBezTo>
                  <a:pt x="1363" y="114"/>
                  <a:pt x="1363" y="114"/>
                  <a:pt x="1363" y="114"/>
                </a:cubicBezTo>
                <a:cubicBezTo>
                  <a:pt x="1355" y="117"/>
                  <a:pt x="1349" y="123"/>
                  <a:pt x="1347" y="132"/>
                </a:cubicBezTo>
                <a:cubicBezTo>
                  <a:pt x="1306" y="309"/>
                  <a:pt x="1184" y="361"/>
                  <a:pt x="1184" y="361"/>
                </a:cubicBezTo>
                <a:cubicBezTo>
                  <a:pt x="1184" y="361"/>
                  <a:pt x="1067" y="430"/>
                  <a:pt x="901" y="359"/>
                </a:cubicBezTo>
                <a:cubicBezTo>
                  <a:pt x="893" y="356"/>
                  <a:pt x="883" y="357"/>
                  <a:pt x="876" y="362"/>
                </a:cubicBezTo>
                <a:cubicBezTo>
                  <a:pt x="839" y="389"/>
                  <a:pt x="839" y="389"/>
                  <a:pt x="839" y="389"/>
                </a:cubicBezTo>
                <a:cubicBezTo>
                  <a:pt x="802" y="416"/>
                  <a:pt x="802" y="416"/>
                  <a:pt x="802" y="416"/>
                </a:cubicBezTo>
                <a:cubicBezTo>
                  <a:pt x="795" y="421"/>
                  <a:pt x="791" y="430"/>
                  <a:pt x="792" y="438"/>
                </a:cubicBezTo>
                <a:cubicBezTo>
                  <a:pt x="808" y="619"/>
                  <a:pt x="708" y="706"/>
                  <a:pt x="708" y="706"/>
                </a:cubicBezTo>
                <a:cubicBezTo>
                  <a:pt x="708" y="706"/>
                  <a:pt x="619" y="808"/>
                  <a:pt x="438" y="792"/>
                </a:cubicBezTo>
                <a:cubicBezTo>
                  <a:pt x="429" y="791"/>
                  <a:pt x="421" y="795"/>
                  <a:pt x="416" y="802"/>
                </a:cubicBezTo>
                <a:cubicBezTo>
                  <a:pt x="389" y="839"/>
                  <a:pt x="389" y="839"/>
                  <a:pt x="389" y="839"/>
                </a:cubicBezTo>
                <a:cubicBezTo>
                  <a:pt x="362" y="876"/>
                  <a:pt x="362" y="876"/>
                  <a:pt x="362" y="876"/>
                </a:cubicBezTo>
                <a:cubicBezTo>
                  <a:pt x="357" y="883"/>
                  <a:pt x="356" y="893"/>
                  <a:pt x="359" y="901"/>
                </a:cubicBezTo>
                <a:cubicBezTo>
                  <a:pt x="430" y="1067"/>
                  <a:pt x="362" y="1182"/>
                  <a:pt x="362" y="1182"/>
                </a:cubicBezTo>
                <a:cubicBezTo>
                  <a:pt x="362" y="1182"/>
                  <a:pt x="309" y="1306"/>
                  <a:pt x="132" y="1347"/>
                </a:cubicBezTo>
                <a:cubicBezTo>
                  <a:pt x="123" y="1349"/>
                  <a:pt x="117" y="1355"/>
                  <a:pt x="114" y="1363"/>
                </a:cubicBezTo>
                <a:cubicBezTo>
                  <a:pt x="100" y="1407"/>
                  <a:pt x="100" y="1407"/>
                  <a:pt x="100" y="1407"/>
                </a:cubicBezTo>
                <a:cubicBezTo>
                  <a:pt x="86" y="1450"/>
                  <a:pt x="86" y="1450"/>
                  <a:pt x="86" y="1450"/>
                </a:cubicBezTo>
                <a:cubicBezTo>
                  <a:pt x="83" y="1459"/>
                  <a:pt x="85" y="1468"/>
                  <a:pt x="90" y="1475"/>
                </a:cubicBezTo>
                <a:cubicBezTo>
                  <a:pt x="210" y="1611"/>
                  <a:pt x="180" y="1741"/>
                  <a:pt x="180" y="1741"/>
                </a:cubicBezTo>
                <a:cubicBezTo>
                  <a:pt x="180" y="1741"/>
                  <a:pt x="168" y="1876"/>
                  <a:pt x="12" y="1969"/>
                </a:cubicBezTo>
                <a:cubicBezTo>
                  <a:pt x="5" y="1973"/>
                  <a:pt x="0" y="1981"/>
                  <a:pt x="0" y="1990"/>
                </a:cubicBezTo>
                <a:cubicBezTo>
                  <a:pt x="0" y="2036"/>
                  <a:pt x="0" y="2036"/>
                  <a:pt x="0" y="2036"/>
                </a:cubicBezTo>
                <a:cubicBezTo>
                  <a:pt x="0" y="2082"/>
                  <a:pt x="0" y="2082"/>
                  <a:pt x="0" y="2082"/>
                </a:cubicBezTo>
                <a:cubicBezTo>
                  <a:pt x="0" y="2091"/>
                  <a:pt x="5" y="2099"/>
                  <a:pt x="12" y="2103"/>
                </a:cubicBezTo>
                <a:cubicBezTo>
                  <a:pt x="168" y="2196"/>
                  <a:pt x="179" y="2329"/>
                  <a:pt x="179" y="2329"/>
                </a:cubicBezTo>
                <a:cubicBezTo>
                  <a:pt x="179" y="2329"/>
                  <a:pt x="210" y="2461"/>
                  <a:pt x="90" y="2597"/>
                </a:cubicBezTo>
                <a:cubicBezTo>
                  <a:pt x="85" y="2604"/>
                  <a:pt x="83" y="2613"/>
                  <a:pt x="86" y="2622"/>
                </a:cubicBezTo>
                <a:cubicBezTo>
                  <a:pt x="100" y="2665"/>
                  <a:pt x="100" y="2665"/>
                  <a:pt x="100" y="2665"/>
                </a:cubicBezTo>
                <a:cubicBezTo>
                  <a:pt x="114" y="2709"/>
                  <a:pt x="114" y="2709"/>
                  <a:pt x="114" y="2709"/>
                </a:cubicBezTo>
                <a:cubicBezTo>
                  <a:pt x="117" y="2717"/>
                  <a:pt x="123" y="2723"/>
                  <a:pt x="132" y="2725"/>
                </a:cubicBezTo>
                <a:cubicBezTo>
                  <a:pt x="309" y="2766"/>
                  <a:pt x="362" y="2890"/>
                  <a:pt x="362" y="2890"/>
                </a:cubicBezTo>
                <a:cubicBezTo>
                  <a:pt x="362" y="2890"/>
                  <a:pt x="430" y="3005"/>
                  <a:pt x="359" y="3171"/>
                </a:cubicBezTo>
                <a:cubicBezTo>
                  <a:pt x="356" y="3179"/>
                  <a:pt x="357" y="3189"/>
                  <a:pt x="362" y="3196"/>
                </a:cubicBezTo>
                <a:cubicBezTo>
                  <a:pt x="389" y="3233"/>
                  <a:pt x="389" y="3233"/>
                  <a:pt x="389" y="3233"/>
                </a:cubicBezTo>
                <a:cubicBezTo>
                  <a:pt x="416" y="3270"/>
                  <a:pt x="416" y="3270"/>
                  <a:pt x="416" y="3270"/>
                </a:cubicBezTo>
                <a:cubicBezTo>
                  <a:pt x="421" y="3277"/>
                  <a:pt x="429" y="3281"/>
                  <a:pt x="438" y="3280"/>
                </a:cubicBezTo>
                <a:cubicBezTo>
                  <a:pt x="619" y="3264"/>
                  <a:pt x="708" y="3366"/>
                  <a:pt x="708" y="3366"/>
                </a:cubicBezTo>
                <a:cubicBezTo>
                  <a:pt x="708" y="3366"/>
                  <a:pt x="808" y="3453"/>
                  <a:pt x="792" y="3634"/>
                </a:cubicBezTo>
                <a:cubicBezTo>
                  <a:pt x="791" y="3643"/>
                  <a:pt x="795" y="3651"/>
                  <a:pt x="802" y="3656"/>
                </a:cubicBezTo>
                <a:cubicBezTo>
                  <a:pt x="839" y="3683"/>
                  <a:pt x="839" y="3683"/>
                  <a:pt x="839" y="3683"/>
                </a:cubicBezTo>
                <a:cubicBezTo>
                  <a:pt x="876" y="3710"/>
                  <a:pt x="876" y="3710"/>
                  <a:pt x="876" y="3710"/>
                </a:cubicBezTo>
                <a:cubicBezTo>
                  <a:pt x="883" y="3715"/>
                  <a:pt x="893" y="3716"/>
                  <a:pt x="901" y="3713"/>
                </a:cubicBezTo>
                <a:cubicBezTo>
                  <a:pt x="1067" y="3642"/>
                  <a:pt x="1184" y="3711"/>
                  <a:pt x="1184" y="3711"/>
                </a:cubicBezTo>
                <a:cubicBezTo>
                  <a:pt x="1184" y="3711"/>
                  <a:pt x="1306" y="3764"/>
                  <a:pt x="1347" y="3940"/>
                </a:cubicBezTo>
                <a:cubicBezTo>
                  <a:pt x="1349" y="3949"/>
                  <a:pt x="1355" y="3955"/>
                  <a:pt x="1363" y="3958"/>
                </a:cubicBezTo>
                <a:cubicBezTo>
                  <a:pt x="1407" y="3972"/>
                  <a:pt x="1407" y="3972"/>
                  <a:pt x="1407" y="3972"/>
                </a:cubicBezTo>
                <a:cubicBezTo>
                  <a:pt x="1450" y="3987"/>
                  <a:pt x="1450" y="3987"/>
                  <a:pt x="1450" y="3987"/>
                </a:cubicBezTo>
                <a:cubicBezTo>
                  <a:pt x="1459" y="3989"/>
                  <a:pt x="1468" y="3987"/>
                  <a:pt x="1475" y="3982"/>
                </a:cubicBezTo>
                <a:cubicBezTo>
                  <a:pt x="1611" y="3862"/>
                  <a:pt x="1743" y="3893"/>
                  <a:pt x="1743" y="3893"/>
                </a:cubicBezTo>
                <a:cubicBezTo>
                  <a:pt x="1743" y="3893"/>
                  <a:pt x="1876" y="3904"/>
                  <a:pt x="1969" y="4060"/>
                </a:cubicBezTo>
                <a:cubicBezTo>
                  <a:pt x="1973" y="4067"/>
                  <a:pt x="1981" y="4072"/>
                  <a:pt x="1990" y="4072"/>
                </a:cubicBezTo>
                <a:cubicBezTo>
                  <a:pt x="2036" y="4072"/>
                  <a:pt x="2036" y="4072"/>
                  <a:pt x="2036" y="4072"/>
                </a:cubicBezTo>
                <a:cubicBezTo>
                  <a:pt x="2082" y="4072"/>
                  <a:pt x="2082" y="4072"/>
                  <a:pt x="2082" y="4072"/>
                </a:cubicBezTo>
                <a:cubicBezTo>
                  <a:pt x="2091" y="4072"/>
                  <a:pt x="2099" y="4067"/>
                  <a:pt x="2103" y="4060"/>
                </a:cubicBezTo>
                <a:cubicBezTo>
                  <a:pt x="2196" y="3904"/>
                  <a:pt x="2331" y="3892"/>
                  <a:pt x="2331" y="3892"/>
                </a:cubicBezTo>
                <a:cubicBezTo>
                  <a:pt x="2331" y="3892"/>
                  <a:pt x="2461" y="3862"/>
                  <a:pt x="2597" y="3982"/>
                </a:cubicBezTo>
                <a:cubicBezTo>
                  <a:pt x="2604" y="3987"/>
                  <a:pt x="2613" y="3989"/>
                  <a:pt x="2622" y="3987"/>
                </a:cubicBezTo>
                <a:cubicBezTo>
                  <a:pt x="2665" y="3972"/>
                  <a:pt x="2665" y="3972"/>
                  <a:pt x="2665" y="3972"/>
                </a:cubicBezTo>
                <a:cubicBezTo>
                  <a:pt x="2709" y="3958"/>
                  <a:pt x="2709" y="3958"/>
                  <a:pt x="2709" y="3958"/>
                </a:cubicBezTo>
                <a:cubicBezTo>
                  <a:pt x="2717" y="3955"/>
                  <a:pt x="2723" y="3949"/>
                  <a:pt x="2725" y="3940"/>
                </a:cubicBezTo>
                <a:cubicBezTo>
                  <a:pt x="2766" y="3764"/>
                  <a:pt x="2890" y="3710"/>
                  <a:pt x="2890" y="3710"/>
                </a:cubicBezTo>
                <a:cubicBezTo>
                  <a:pt x="2890" y="3710"/>
                  <a:pt x="3005" y="3642"/>
                  <a:pt x="3171" y="3713"/>
                </a:cubicBezTo>
                <a:cubicBezTo>
                  <a:pt x="3179" y="3716"/>
                  <a:pt x="3189" y="3715"/>
                  <a:pt x="3196" y="3710"/>
                </a:cubicBezTo>
                <a:cubicBezTo>
                  <a:pt x="3233" y="3683"/>
                  <a:pt x="3233" y="3683"/>
                  <a:pt x="3233" y="3683"/>
                </a:cubicBezTo>
                <a:cubicBezTo>
                  <a:pt x="3270" y="3656"/>
                  <a:pt x="3270" y="3656"/>
                  <a:pt x="3270" y="3656"/>
                </a:cubicBezTo>
                <a:cubicBezTo>
                  <a:pt x="3277" y="3651"/>
                  <a:pt x="3281" y="3643"/>
                  <a:pt x="3280" y="3634"/>
                </a:cubicBezTo>
                <a:cubicBezTo>
                  <a:pt x="3264" y="3453"/>
                  <a:pt x="3366" y="3364"/>
                  <a:pt x="3366" y="3364"/>
                </a:cubicBezTo>
                <a:cubicBezTo>
                  <a:pt x="3366" y="3364"/>
                  <a:pt x="3453" y="3264"/>
                  <a:pt x="3634" y="3280"/>
                </a:cubicBezTo>
                <a:cubicBezTo>
                  <a:pt x="3643" y="3281"/>
                  <a:pt x="3651" y="3277"/>
                  <a:pt x="3656" y="3270"/>
                </a:cubicBezTo>
                <a:cubicBezTo>
                  <a:pt x="3683" y="3233"/>
                  <a:pt x="3683" y="3233"/>
                  <a:pt x="3683" y="3233"/>
                </a:cubicBezTo>
                <a:cubicBezTo>
                  <a:pt x="3710" y="3196"/>
                  <a:pt x="3710" y="3196"/>
                  <a:pt x="3710" y="3196"/>
                </a:cubicBezTo>
                <a:cubicBezTo>
                  <a:pt x="3715" y="3189"/>
                  <a:pt x="3716" y="3179"/>
                  <a:pt x="3713" y="3171"/>
                </a:cubicBezTo>
                <a:cubicBezTo>
                  <a:pt x="3642" y="3005"/>
                  <a:pt x="3711" y="2888"/>
                  <a:pt x="3711" y="2888"/>
                </a:cubicBezTo>
                <a:cubicBezTo>
                  <a:pt x="3711" y="2888"/>
                  <a:pt x="3763" y="2766"/>
                  <a:pt x="3940" y="2725"/>
                </a:cubicBezTo>
                <a:cubicBezTo>
                  <a:pt x="3949" y="2723"/>
                  <a:pt x="3955" y="2717"/>
                  <a:pt x="3958" y="2709"/>
                </a:cubicBezTo>
                <a:cubicBezTo>
                  <a:pt x="3972" y="2665"/>
                  <a:pt x="3972" y="2665"/>
                  <a:pt x="3972" y="2665"/>
                </a:cubicBezTo>
                <a:cubicBezTo>
                  <a:pt x="3986" y="2622"/>
                  <a:pt x="3986" y="2622"/>
                  <a:pt x="3986" y="2622"/>
                </a:cubicBezTo>
                <a:cubicBezTo>
                  <a:pt x="3989" y="2613"/>
                  <a:pt x="3987" y="2604"/>
                  <a:pt x="3982" y="2597"/>
                </a:cubicBezTo>
                <a:cubicBezTo>
                  <a:pt x="3862" y="2461"/>
                  <a:pt x="3893" y="2329"/>
                  <a:pt x="3893" y="2329"/>
                </a:cubicBezTo>
                <a:cubicBezTo>
                  <a:pt x="3893" y="2329"/>
                  <a:pt x="3904" y="2196"/>
                  <a:pt x="4060" y="2103"/>
                </a:cubicBezTo>
                <a:cubicBezTo>
                  <a:pt x="4067" y="2099"/>
                  <a:pt x="4072" y="2091"/>
                  <a:pt x="4072" y="2082"/>
                </a:cubicBezTo>
                <a:cubicBezTo>
                  <a:pt x="4072" y="2036"/>
                  <a:pt x="4072" y="2036"/>
                  <a:pt x="4072" y="2036"/>
                </a:cubicBezTo>
                <a:cubicBezTo>
                  <a:pt x="4072" y="1990"/>
                  <a:pt x="4072" y="1990"/>
                  <a:pt x="4072" y="1990"/>
                </a:cubicBezTo>
                <a:cubicBezTo>
                  <a:pt x="4072" y="1981"/>
                  <a:pt x="4067" y="1973"/>
                  <a:pt x="4060" y="1969"/>
                </a:cubicBezTo>
                <a:close/>
              </a:path>
            </a:pathLst>
          </a:custGeom>
          <a:solidFill>
            <a:sysClr val="windowText" lastClr="000000"/>
          </a:solidFill>
          <a:ln>
            <a:noFill/>
          </a:ln>
        </p:spPr>
        <p:txBody>
          <a:bodyPr vert="horz" wrap="square" lIns="54864" tIns="27432" rIns="54864" bIns="27432" numCol="1" anchor="ctr" anchorCtr="0" compatLnSpc="1">
            <a:prstTxWarp prst="textNoShape">
              <a:avLst/>
            </a:prstTxWarp>
          </a:bodyPr>
          <a:lstStyle/>
          <a:p>
            <a:pPr algn="ctr" defTabSz="1097280">
              <a:defRPr/>
            </a:pPr>
            <a:r>
              <a:rPr lang="fr-BE" sz="144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Group </a:t>
            </a:r>
          </a:p>
          <a:p>
            <a:pPr algn="ctr" defTabSz="1097280">
              <a:defRPr/>
            </a:pPr>
            <a:r>
              <a:rPr lang="fr-BE" sz="144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PPM</a:t>
            </a:r>
          </a:p>
        </p:txBody>
      </p:sp>
      <p:sp>
        <p:nvSpPr>
          <p:cNvPr id="31" name="Freeform 30"/>
          <p:cNvSpPr>
            <a:spLocks noChangeAspect="1"/>
          </p:cNvSpPr>
          <p:nvPr/>
        </p:nvSpPr>
        <p:spPr bwMode="auto">
          <a:xfrm>
            <a:off x="2632046" y="3675255"/>
            <a:ext cx="1076062" cy="1076063"/>
          </a:xfrm>
          <a:custGeom>
            <a:avLst/>
            <a:gdLst>
              <a:gd name="T0" fmla="*/ 3892 w 4072"/>
              <a:gd name="T1" fmla="*/ 1741 h 4072"/>
              <a:gd name="T2" fmla="*/ 3986 w 4072"/>
              <a:gd name="T3" fmla="*/ 1450 h 4072"/>
              <a:gd name="T4" fmla="*/ 3958 w 4072"/>
              <a:gd name="T5" fmla="*/ 1363 h 4072"/>
              <a:gd name="T6" fmla="*/ 3711 w 4072"/>
              <a:gd name="T7" fmla="*/ 1184 h 4072"/>
              <a:gd name="T8" fmla="*/ 3710 w 4072"/>
              <a:gd name="T9" fmla="*/ 876 h 4072"/>
              <a:gd name="T10" fmla="*/ 3656 w 4072"/>
              <a:gd name="T11" fmla="*/ 802 h 4072"/>
              <a:gd name="T12" fmla="*/ 3366 w 4072"/>
              <a:gd name="T13" fmla="*/ 708 h 4072"/>
              <a:gd name="T14" fmla="*/ 3270 w 4072"/>
              <a:gd name="T15" fmla="*/ 416 h 4072"/>
              <a:gd name="T16" fmla="*/ 3196 w 4072"/>
              <a:gd name="T17" fmla="*/ 362 h 4072"/>
              <a:gd name="T18" fmla="*/ 2890 w 4072"/>
              <a:gd name="T19" fmla="*/ 362 h 4072"/>
              <a:gd name="T20" fmla="*/ 2709 w 4072"/>
              <a:gd name="T21" fmla="*/ 114 h 4072"/>
              <a:gd name="T22" fmla="*/ 2622 w 4072"/>
              <a:gd name="T23" fmla="*/ 86 h 4072"/>
              <a:gd name="T24" fmla="*/ 2331 w 4072"/>
              <a:gd name="T25" fmla="*/ 180 h 4072"/>
              <a:gd name="T26" fmla="*/ 2082 w 4072"/>
              <a:gd name="T27" fmla="*/ 0 h 4072"/>
              <a:gd name="T28" fmla="*/ 1990 w 4072"/>
              <a:gd name="T29" fmla="*/ 0 h 4072"/>
              <a:gd name="T30" fmla="*/ 1743 w 4072"/>
              <a:gd name="T31" fmla="*/ 179 h 4072"/>
              <a:gd name="T32" fmla="*/ 1450 w 4072"/>
              <a:gd name="T33" fmla="*/ 86 h 4072"/>
              <a:gd name="T34" fmla="*/ 1363 w 4072"/>
              <a:gd name="T35" fmla="*/ 114 h 4072"/>
              <a:gd name="T36" fmla="*/ 1184 w 4072"/>
              <a:gd name="T37" fmla="*/ 361 h 4072"/>
              <a:gd name="T38" fmla="*/ 876 w 4072"/>
              <a:gd name="T39" fmla="*/ 362 h 4072"/>
              <a:gd name="T40" fmla="*/ 802 w 4072"/>
              <a:gd name="T41" fmla="*/ 416 h 4072"/>
              <a:gd name="T42" fmla="*/ 708 w 4072"/>
              <a:gd name="T43" fmla="*/ 706 h 4072"/>
              <a:gd name="T44" fmla="*/ 416 w 4072"/>
              <a:gd name="T45" fmla="*/ 802 h 4072"/>
              <a:gd name="T46" fmla="*/ 362 w 4072"/>
              <a:gd name="T47" fmla="*/ 876 h 4072"/>
              <a:gd name="T48" fmla="*/ 362 w 4072"/>
              <a:gd name="T49" fmla="*/ 1182 h 4072"/>
              <a:gd name="T50" fmla="*/ 114 w 4072"/>
              <a:gd name="T51" fmla="*/ 1363 h 4072"/>
              <a:gd name="T52" fmla="*/ 86 w 4072"/>
              <a:gd name="T53" fmla="*/ 1450 h 4072"/>
              <a:gd name="T54" fmla="*/ 180 w 4072"/>
              <a:gd name="T55" fmla="*/ 1741 h 4072"/>
              <a:gd name="T56" fmla="*/ 0 w 4072"/>
              <a:gd name="T57" fmla="*/ 1990 h 4072"/>
              <a:gd name="T58" fmla="*/ 0 w 4072"/>
              <a:gd name="T59" fmla="*/ 2082 h 4072"/>
              <a:gd name="T60" fmla="*/ 179 w 4072"/>
              <a:gd name="T61" fmla="*/ 2329 h 4072"/>
              <a:gd name="T62" fmla="*/ 86 w 4072"/>
              <a:gd name="T63" fmla="*/ 2622 h 4072"/>
              <a:gd name="T64" fmla="*/ 114 w 4072"/>
              <a:gd name="T65" fmla="*/ 2709 h 4072"/>
              <a:gd name="T66" fmla="*/ 362 w 4072"/>
              <a:gd name="T67" fmla="*/ 2890 h 4072"/>
              <a:gd name="T68" fmla="*/ 362 w 4072"/>
              <a:gd name="T69" fmla="*/ 3196 h 4072"/>
              <a:gd name="T70" fmla="*/ 416 w 4072"/>
              <a:gd name="T71" fmla="*/ 3270 h 4072"/>
              <a:gd name="T72" fmla="*/ 708 w 4072"/>
              <a:gd name="T73" fmla="*/ 3366 h 4072"/>
              <a:gd name="T74" fmla="*/ 802 w 4072"/>
              <a:gd name="T75" fmla="*/ 3656 h 4072"/>
              <a:gd name="T76" fmla="*/ 876 w 4072"/>
              <a:gd name="T77" fmla="*/ 3710 h 4072"/>
              <a:gd name="T78" fmla="*/ 1184 w 4072"/>
              <a:gd name="T79" fmla="*/ 3711 h 4072"/>
              <a:gd name="T80" fmla="*/ 1363 w 4072"/>
              <a:gd name="T81" fmla="*/ 3958 h 4072"/>
              <a:gd name="T82" fmla="*/ 1450 w 4072"/>
              <a:gd name="T83" fmla="*/ 3987 h 4072"/>
              <a:gd name="T84" fmla="*/ 1743 w 4072"/>
              <a:gd name="T85" fmla="*/ 3893 h 4072"/>
              <a:gd name="T86" fmla="*/ 1990 w 4072"/>
              <a:gd name="T87" fmla="*/ 4072 h 4072"/>
              <a:gd name="T88" fmla="*/ 2082 w 4072"/>
              <a:gd name="T89" fmla="*/ 4072 h 4072"/>
              <a:gd name="T90" fmla="*/ 2331 w 4072"/>
              <a:gd name="T91" fmla="*/ 3892 h 4072"/>
              <a:gd name="T92" fmla="*/ 2622 w 4072"/>
              <a:gd name="T93" fmla="*/ 3987 h 4072"/>
              <a:gd name="T94" fmla="*/ 2709 w 4072"/>
              <a:gd name="T95" fmla="*/ 3958 h 4072"/>
              <a:gd name="T96" fmla="*/ 2890 w 4072"/>
              <a:gd name="T97" fmla="*/ 3710 h 4072"/>
              <a:gd name="T98" fmla="*/ 3196 w 4072"/>
              <a:gd name="T99" fmla="*/ 3710 h 4072"/>
              <a:gd name="T100" fmla="*/ 3270 w 4072"/>
              <a:gd name="T101" fmla="*/ 3656 h 4072"/>
              <a:gd name="T102" fmla="*/ 3366 w 4072"/>
              <a:gd name="T103" fmla="*/ 3364 h 4072"/>
              <a:gd name="T104" fmla="*/ 3656 w 4072"/>
              <a:gd name="T105" fmla="*/ 3270 h 4072"/>
              <a:gd name="T106" fmla="*/ 3710 w 4072"/>
              <a:gd name="T107" fmla="*/ 3196 h 4072"/>
              <a:gd name="T108" fmla="*/ 3711 w 4072"/>
              <a:gd name="T109" fmla="*/ 2888 h 4072"/>
              <a:gd name="T110" fmla="*/ 3958 w 4072"/>
              <a:gd name="T111" fmla="*/ 2709 h 4072"/>
              <a:gd name="T112" fmla="*/ 3986 w 4072"/>
              <a:gd name="T113" fmla="*/ 2622 h 4072"/>
              <a:gd name="T114" fmla="*/ 3893 w 4072"/>
              <a:gd name="T115" fmla="*/ 2329 h 4072"/>
              <a:gd name="T116" fmla="*/ 4072 w 4072"/>
              <a:gd name="T117" fmla="*/ 2082 h 4072"/>
              <a:gd name="T118" fmla="*/ 4072 w 4072"/>
              <a:gd name="T119" fmla="*/ 1990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072" h="4072">
                <a:moveTo>
                  <a:pt x="4060" y="1969"/>
                </a:moveTo>
                <a:cubicBezTo>
                  <a:pt x="3904" y="1876"/>
                  <a:pt x="3892" y="1741"/>
                  <a:pt x="3892" y="1741"/>
                </a:cubicBezTo>
                <a:cubicBezTo>
                  <a:pt x="3892" y="1741"/>
                  <a:pt x="3862" y="1611"/>
                  <a:pt x="3982" y="1475"/>
                </a:cubicBezTo>
                <a:cubicBezTo>
                  <a:pt x="3987" y="1468"/>
                  <a:pt x="3989" y="1459"/>
                  <a:pt x="3986" y="1450"/>
                </a:cubicBezTo>
                <a:cubicBezTo>
                  <a:pt x="3972" y="1407"/>
                  <a:pt x="3972" y="1407"/>
                  <a:pt x="3972" y="1407"/>
                </a:cubicBezTo>
                <a:cubicBezTo>
                  <a:pt x="3958" y="1363"/>
                  <a:pt x="3958" y="1363"/>
                  <a:pt x="3958" y="1363"/>
                </a:cubicBezTo>
                <a:cubicBezTo>
                  <a:pt x="3955" y="1355"/>
                  <a:pt x="3949" y="1349"/>
                  <a:pt x="3940" y="1347"/>
                </a:cubicBezTo>
                <a:cubicBezTo>
                  <a:pt x="3763" y="1306"/>
                  <a:pt x="3711" y="1184"/>
                  <a:pt x="3711" y="1184"/>
                </a:cubicBezTo>
                <a:cubicBezTo>
                  <a:pt x="3711" y="1184"/>
                  <a:pt x="3642" y="1067"/>
                  <a:pt x="3713" y="901"/>
                </a:cubicBezTo>
                <a:cubicBezTo>
                  <a:pt x="3716" y="893"/>
                  <a:pt x="3715" y="883"/>
                  <a:pt x="3710" y="876"/>
                </a:cubicBezTo>
                <a:cubicBezTo>
                  <a:pt x="3683" y="839"/>
                  <a:pt x="3683" y="839"/>
                  <a:pt x="3683" y="839"/>
                </a:cubicBezTo>
                <a:cubicBezTo>
                  <a:pt x="3656" y="802"/>
                  <a:pt x="3656" y="802"/>
                  <a:pt x="3656" y="802"/>
                </a:cubicBezTo>
                <a:cubicBezTo>
                  <a:pt x="3651" y="795"/>
                  <a:pt x="3643" y="791"/>
                  <a:pt x="3634" y="792"/>
                </a:cubicBezTo>
                <a:cubicBezTo>
                  <a:pt x="3453" y="808"/>
                  <a:pt x="3366" y="708"/>
                  <a:pt x="3366" y="708"/>
                </a:cubicBezTo>
                <a:cubicBezTo>
                  <a:pt x="3366" y="708"/>
                  <a:pt x="3264" y="619"/>
                  <a:pt x="3280" y="438"/>
                </a:cubicBezTo>
                <a:cubicBezTo>
                  <a:pt x="3281" y="429"/>
                  <a:pt x="3277" y="421"/>
                  <a:pt x="3270" y="416"/>
                </a:cubicBezTo>
                <a:cubicBezTo>
                  <a:pt x="3233" y="389"/>
                  <a:pt x="3233" y="389"/>
                  <a:pt x="3233" y="389"/>
                </a:cubicBezTo>
                <a:cubicBezTo>
                  <a:pt x="3196" y="362"/>
                  <a:pt x="3196" y="362"/>
                  <a:pt x="3196" y="362"/>
                </a:cubicBezTo>
                <a:cubicBezTo>
                  <a:pt x="3189" y="357"/>
                  <a:pt x="3179" y="356"/>
                  <a:pt x="3171" y="359"/>
                </a:cubicBezTo>
                <a:cubicBezTo>
                  <a:pt x="3005" y="430"/>
                  <a:pt x="2890" y="362"/>
                  <a:pt x="2890" y="362"/>
                </a:cubicBezTo>
                <a:cubicBezTo>
                  <a:pt x="2890" y="362"/>
                  <a:pt x="2766" y="309"/>
                  <a:pt x="2725" y="132"/>
                </a:cubicBezTo>
                <a:cubicBezTo>
                  <a:pt x="2723" y="123"/>
                  <a:pt x="2717" y="117"/>
                  <a:pt x="2709" y="114"/>
                </a:cubicBezTo>
                <a:cubicBezTo>
                  <a:pt x="2665" y="100"/>
                  <a:pt x="2665" y="100"/>
                  <a:pt x="2665" y="100"/>
                </a:cubicBezTo>
                <a:cubicBezTo>
                  <a:pt x="2622" y="86"/>
                  <a:pt x="2622" y="86"/>
                  <a:pt x="2622" y="86"/>
                </a:cubicBezTo>
                <a:cubicBezTo>
                  <a:pt x="2613" y="83"/>
                  <a:pt x="2604" y="85"/>
                  <a:pt x="2597" y="90"/>
                </a:cubicBezTo>
                <a:cubicBezTo>
                  <a:pt x="2461" y="210"/>
                  <a:pt x="2331" y="180"/>
                  <a:pt x="2331" y="180"/>
                </a:cubicBezTo>
                <a:cubicBezTo>
                  <a:pt x="2331" y="180"/>
                  <a:pt x="2196" y="168"/>
                  <a:pt x="2103" y="12"/>
                </a:cubicBezTo>
                <a:cubicBezTo>
                  <a:pt x="2099" y="5"/>
                  <a:pt x="2091" y="0"/>
                  <a:pt x="2082" y="0"/>
                </a:cubicBezTo>
                <a:cubicBezTo>
                  <a:pt x="2036" y="0"/>
                  <a:pt x="2036" y="0"/>
                  <a:pt x="2036" y="0"/>
                </a:cubicBezTo>
                <a:cubicBezTo>
                  <a:pt x="1990" y="0"/>
                  <a:pt x="1990" y="0"/>
                  <a:pt x="1990" y="0"/>
                </a:cubicBezTo>
                <a:cubicBezTo>
                  <a:pt x="1981" y="0"/>
                  <a:pt x="1973" y="5"/>
                  <a:pt x="1969" y="12"/>
                </a:cubicBezTo>
                <a:cubicBezTo>
                  <a:pt x="1876" y="168"/>
                  <a:pt x="1743" y="179"/>
                  <a:pt x="1743" y="179"/>
                </a:cubicBezTo>
                <a:cubicBezTo>
                  <a:pt x="1743" y="179"/>
                  <a:pt x="1611" y="210"/>
                  <a:pt x="1475" y="90"/>
                </a:cubicBezTo>
                <a:cubicBezTo>
                  <a:pt x="1468" y="85"/>
                  <a:pt x="1459" y="83"/>
                  <a:pt x="1450" y="86"/>
                </a:cubicBezTo>
                <a:cubicBezTo>
                  <a:pt x="1407" y="100"/>
                  <a:pt x="1407" y="100"/>
                  <a:pt x="1407" y="100"/>
                </a:cubicBezTo>
                <a:cubicBezTo>
                  <a:pt x="1363" y="114"/>
                  <a:pt x="1363" y="114"/>
                  <a:pt x="1363" y="114"/>
                </a:cubicBezTo>
                <a:cubicBezTo>
                  <a:pt x="1355" y="117"/>
                  <a:pt x="1349" y="123"/>
                  <a:pt x="1347" y="132"/>
                </a:cubicBezTo>
                <a:cubicBezTo>
                  <a:pt x="1306" y="309"/>
                  <a:pt x="1184" y="361"/>
                  <a:pt x="1184" y="361"/>
                </a:cubicBezTo>
                <a:cubicBezTo>
                  <a:pt x="1184" y="361"/>
                  <a:pt x="1067" y="430"/>
                  <a:pt x="901" y="359"/>
                </a:cubicBezTo>
                <a:cubicBezTo>
                  <a:pt x="893" y="356"/>
                  <a:pt x="883" y="357"/>
                  <a:pt x="876" y="362"/>
                </a:cubicBezTo>
                <a:cubicBezTo>
                  <a:pt x="839" y="389"/>
                  <a:pt x="839" y="389"/>
                  <a:pt x="839" y="389"/>
                </a:cubicBezTo>
                <a:cubicBezTo>
                  <a:pt x="802" y="416"/>
                  <a:pt x="802" y="416"/>
                  <a:pt x="802" y="416"/>
                </a:cubicBezTo>
                <a:cubicBezTo>
                  <a:pt x="795" y="421"/>
                  <a:pt x="791" y="430"/>
                  <a:pt x="792" y="438"/>
                </a:cubicBezTo>
                <a:cubicBezTo>
                  <a:pt x="808" y="619"/>
                  <a:pt x="708" y="706"/>
                  <a:pt x="708" y="706"/>
                </a:cubicBezTo>
                <a:cubicBezTo>
                  <a:pt x="708" y="706"/>
                  <a:pt x="619" y="808"/>
                  <a:pt x="438" y="792"/>
                </a:cubicBezTo>
                <a:cubicBezTo>
                  <a:pt x="429" y="791"/>
                  <a:pt x="421" y="795"/>
                  <a:pt x="416" y="802"/>
                </a:cubicBezTo>
                <a:cubicBezTo>
                  <a:pt x="389" y="839"/>
                  <a:pt x="389" y="839"/>
                  <a:pt x="389" y="839"/>
                </a:cubicBezTo>
                <a:cubicBezTo>
                  <a:pt x="362" y="876"/>
                  <a:pt x="362" y="876"/>
                  <a:pt x="362" y="876"/>
                </a:cubicBezTo>
                <a:cubicBezTo>
                  <a:pt x="357" y="883"/>
                  <a:pt x="356" y="893"/>
                  <a:pt x="359" y="901"/>
                </a:cubicBezTo>
                <a:cubicBezTo>
                  <a:pt x="430" y="1067"/>
                  <a:pt x="362" y="1182"/>
                  <a:pt x="362" y="1182"/>
                </a:cubicBezTo>
                <a:cubicBezTo>
                  <a:pt x="362" y="1182"/>
                  <a:pt x="309" y="1306"/>
                  <a:pt x="132" y="1347"/>
                </a:cubicBezTo>
                <a:cubicBezTo>
                  <a:pt x="123" y="1349"/>
                  <a:pt x="117" y="1355"/>
                  <a:pt x="114" y="1363"/>
                </a:cubicBezTo>
                <a:cubicBezTo>
                  <a:pt x="100" y="1407"/>
                  <a:pt x="100" y="1407"/>
                  <a:pt x="100" y="1407"/>
                </a:cubicBezTo>
                <a:cubicBezTo>
                  <a:pt x="86" y="1450"/>
                  <a:pt x="86" y="1450"/>
                  <a:pt x="86" y="1450"/>
                </a:cubicBezTo>
                <a:cubicBezTo>
                  <a:pt x="83" y="1459"/>
                  <a:pt x="85" y="1468"/>
                  <a:pt x="90" y="1475"/>
                </a:cubicBezTo>
                <a:cubicBezTo>
                  <a:pt x="210" y="1611"/>
                  <a:pt x="180" y="1741"/>
                  <a:pt x="180" y="1741"/>
                </a:cubicBezTo>
                <a:cubicBezTo>
                  <a:pt x="180" y="1741"/>
                  <a:pt x="168" y="1876"/>
                  <a:pt x="12" y="1969"/>
                </a:cubicBezTo>
                <a:cubicBezTo>
                  <a:pt x="5" y="1973"/>
                  <a:pt x="0" y="1981"/>
                  <a:pt x="0" y="1990"/>
                </a:cubicBezTo>
                <a:cubicBezTo>
                  <a:pt x="0" y="2036"/>
                  <a:pt x="0" y="2036"/>
                  <a:pt x="0" y="2036"/>
                </a:cubicBezTo>
                <a:cubicBezTo>
                  <a:pt x="0" y="2082"/>
                  <a:pt x="0" y="2082"/>
                  <a:pt x="0" y="2082"/>
                </a:cubicBezTo>
                <a:cubicBezTo>
                  <a:pt x="0" y="2091"/>
                  <a:pt x="5" y="2099"/>
                  <a:pt x="12" y="2103"/>
                </a:cubicBezTo>
                <a:cubicBezTo>
                  <a:pt x="168" y="2196"/>
                  <a:pt x="179" y="2329"/>
                  <a:pt x="179" y="2329"/>
                </a:cubicBezTo>
                <a:cubicBezTo>
                  <a:pt x="179" y="2329"/>
                  <a:pt x="210" y="2461"/>
                  <a:pt x="90" y="2597"/>
                </a:cubicBezTo>
                <a:cubicBezTo>
                  <a:pt x="85" y="2604"/>
                  <a:pt x="83" y="2613"/>
                  <a:pt x="86" y="2622"/>
                </a:cubicBezTo>
                <a:cubicBezTo>
                  <a:pt x="100" y="2665"/>
                  <a:pt x="100" y="2665"/>
                  <a:pt x="100" y="2665"/>
                </a:cubicBezTo>
                <a:cubicBezTo>
                  <a:pt x="114" y="2709"/>
                  <a:pt x="114" y="2709"/>
                  <a:pt x="114" y="2709"/>
                </a:cubicBezTo>
                <a:cubicBezTo>
                  <a:pt x="117" y="2717"/>
                  <a:pt x="123" y="2723"/>
                  <a:pt x="132" y="2725"/>
                </a:cubicBezTo>
                <a:cubicBezTo>
                  <a:pt x="309" y="2766"/>
                  <a:pt x="362" y="2890"/>
                  <a:pt x="362" y="2890"/>
                </a:cubicBezTo>
                <a:cubicBezTo>
                  <a:pt x="362" y="2890"/>
                  <a:pt x="430" y="3005"/>
                  <a:pt x="359" y="3171"/>
                </a:cubicBezTo>
                <a:cubicBezTo>
                  <a:pt x="356" y="3179"/>
                  <a:pt x="357" y="3189"/>
                  <a:pt x="362" y="3196"/>
                </a:cubicBezTo>
                <a:cubicBezTo>
                  <a:pt x="389" y="3233"/>
                  <a:pt x="389" y="3233"/>
                  <a:pt x="389" y="3233"/>
                </a:cubicBezTo>
                <a:cubicBezTo>
                  <a:pt x="416" y="3270"/>
                  <a:pt x="416" y="3270"/>
                  <a:pt x="416" y="3270"/>
                </a:cubicBezTo>
                <a:cubicBezTo>
                  <a:pt x="421" y="3277"/>
                  <a:pt x="429" y="3281"/>
                  <a:pt x="438" y="3280"/>
                </a:cubicBezTo>
                <a:cubicBezTo>
                  <a:pt x="619" y="3264"/>
                  <a:pt x="708" y="3366"/>
                  <a:pt x="708" y="3366"/>
                </a:cubicBezTo>
                <a:cubicBezTo>
                  <a:pt x="708" y="3366"/>
                  <a:pt x="808" y="3453"/>
                  <a:pt x="792" y="3634"/>
                </a:cubicBezTo>
                <a:cubicBezTo>
                  <a:pt x="791" y="3643"/>
                  <a:pt x="795" y="3651"/>
                  <a:pt x="802" y="3656"/>
                </a:cubicBezTo>
                <a:cubicBezTo>
                  <a:pt x="839" y="3683"/>
                  <a:pt x="839" y="3683"/>
                  <a:pt x="839" y="3683"/>
                </a:cubicBezTo>
                <a:cubicBezTo>
                  <a:pt x="876" y="3710"/>
                  <a:pt x="876" y="3710"/>
                  <a:pt x="876" y="3710"/>
                </a:cubicBezTo>
                <a:cubicBezTo>
                  <a:pt x="883" y="3715"/>
                  <a:pt x="893" y="3716"/>
                  <a:pt x="901" y="3713"/>
                </a:cubicBezTo>
                <a:cubicBezTo>
                  <a:pt x="1067" y="3642"/>
                  <a:pt x="1184" y="3711"/>
                  <a:pt x="1184" y="3711"/>
                </a:cubicBezTo>
                <a:cubicBezTo>
                  <a:pt x="1184" y="3711"/>
                  <a:pt x="1306" y="3764"/>
                  <a:pt x="1347" y="3940"/>
                </a:cubicBezTo>
                <a:cubicBezTo>
                  <a:pt x="1349" y="3949"/>
                  <a:pt x="1355" y="3955"/>
                  <a:pt x="1363" y="3958"/>
                </a:cubicBezTo>
                <a:cubicBezTo>
                  <a:pt x="1407" y="3972"/>
                  <a:pt x="1407" y="3972"/>
                  <a:pt x="1407" y="3972"/>
                </a:cubicBezTo>
                <a:cubicBezTo>
                  <a:pt x="1450" y="3987"/>
                  <a:pt x="1450" y="3987"/>
                  <a:pt x="1450" y="3987"/>
                </a:cubicBezTo>
                <a:cubicBezTo>
                  <a:pt x="1459" y="3989"/>
                  <a:pt x="1468" y="3987"/>
                  <a:pt x="1475" y="3982"/>
                </a:cubicBezTo>
                <a:cubicBezTo>
                  <a:pt x="1611" y="3862"/>
                  <a:pt x="1743" y="3893"/>
                  <a:pt x="1743" y="3893"/>
                </a:cubicBezTo>
                <a:cubicBezTo>
                  <a:pt x="1743" y="3893"/>
                  <a:pt x="1876" y="3904"/>
                  <a:pt x="1969" y="4060"/>
                </a:cubicBezTo>
                <a:cubicBezTo>
                  <a:pt x="1973" y="4067"/>
                  <a:pt x="1981" y="4072"/>
                  <a:pt x="1990" y="4072"/>
                </a:cubicBezTo>
                <a:cubicBezTo>
                  <a:pt x="2036" y="4072"/>
                  <a:pt x="2036" y="4072"/>
                  <a:pt x="2036" y="4072"/>
                </a:cubicBezTo>
                <a:cubicBezTo>
                  <a:pt x="2082" y="4072"/>
                  <a:pt x="2082" y="4072"/>
                  <a:pt x="2082" y="4072"/>
                </a:cubicBezTo>
                <a:cubicBezTo>
                  <a:pt x="2091" y="4072"/>
                  <a:pt x="2099" y="4067"/>
                  <a:pt x="2103" y="4060"/>
                </a:cubicBezTo>
                <a:cubicBezTo>
                  <a:pt x="2196" y="3904"/>
                  <a:pt x="2331" y="3892"/>
                  <a:pt x="2331" y="3892"/>
                </a:cubicBezTo>
                <a:cubicBezTo>
                  <a:pt x="2331" y="3892"/>
                  <a:pt x="2461" y="3862"/>
                  <a:pt x="2597" y="3982"/>
                </a:cubicBezTo>
                <a:cubicBezTo>
                  <a:pt x="2604" y="3987"/>
                  <a:pt x="2613" y="3989"/>
                  <a:pt x="2622" y="3987"/>
                </a:cubicBezTo>
                <a:cubicBezTo>
                  <a:pt x="2665" y="3972"/>
                  <a:pt x="2665" y="3972"/>
                  <a:pt x="2665" y="3972"/>
                </a:cubicBezTo>
                <a:cubicBezTo>
                  <a:pt x="2709" y="3958"/>
                  <a:pt x="2709" y="3958"/>
                  <a:pt x="2709" y="3958"/>
                </a:cubicBezTo>
                <a:cubicBezTo>
                  <a:pt x="2717" y="3955"/>
                  <a:pt x="2723" y="3949"/>
                  <a:pt x="2725" y="3940"/>
                </a:cubicBezTo>
                <a:cubicBezTo>
                  <a:pt x="2766" y="3764"/>
                  <a:pt x="2890" y="3710"/>
                  <a:pt x="2890" y="3710"/>
                </a:cubicBezTo>
                <a:cubicBezTo>
                  <a:pt x="2890" y="3710"/>
                  <a:pt x="3005" y="3642"/>
                  <a:pt x="3171" y="3713"/>
                </a:cubicBezTo>
                <a:cubicBezTo>
                  <a:pt x="3179" y="3716"/>
                  <a:pt x="3189" y="3715"/>
                  <a:pt x="3196" y="3710"/>
                </a:cubicBezTo>
                <a:cubicBezTo>
                  <a:pt x="3233" y="3683"/>
                  <a:pt x="3233" y="3683"/>
                  <a:pt x="3233" y="3683"/>
                </a:cubicBezTo>
                <a:cubicBezTo>
                  <a:pt x="3270" y="3656"/>
                  <a:pt x="3270" y="3656"/>
                  <a:pt x="3270" y="3656"/>
                </a:cubicBezTo>
                <a:cubicBezTo>
                  <a:pt x="3277" y="3651"/>
                  <a:pt x="3281" y="3643"/>
                  <a:pt x="3280" y="3634"/>
                </a:cubicBezTo>
                <a:cubicBezTo>
                  <a:pt x="3264" y="3453"/>
                  <a:pt x="3366" y="3364"/>
                  <a:pt x="3366" y="3364"/>
                </a:cubicBezTo>
                <a:cubicBezTo>
                  <a:pt x="3366" y="3364"/>
                  <a:pt x="3453" y="3264"/>
                  <a:pt x="3634" y="3280"/>
                </a:cubicBezTo>
                <a:cubicBezTo>
                  <a:pt x="3643" y="3281"/>
                  <a:pt x="3651" y="3277"/>
                  <a:pt x="3656" y="3270"/>
                </a:cubicBezTo>
                <a:cubicBezTo>
                  <a:pt x="3683" y="3233"/>
                  <a:pt x="3683" y="3233"/>
                  <a:pt x="3683" y="3233"/>
                </a:cubicBezTo>
                <a:cubicBezTo>
                  <a:pt x="3710" y="3196"/>
                  <a:pt x="3710" y="3196"/>
                  <a:pt x="3710" y="3196"/>
                </a:cubicBezTo>
                <a:cubicBezTo>
                  <a:pt x="3715" y="3189"/>
                  <a:pt x="3716" y="3179"/>
                  <a:pt x="3713" y="3171"/>
                </a:cubicBezTo>
                <a:cubicBezTo>
                  <a:pt x="3642" y="3005"/>
                  <a:pt x="3711" y="2888"/>
                  <a:pt x="3711" y="2888"/>
                </a:cubicBezTo>
                <a:cubicBezTo>
                  <a:pt x="3711" y="2888"/>
                  <a:pt x="3763" y="2766"/>
                  <a:pt x="3940" y="2725"/>
                </a:cubicBezTo>
                <a:cubicBezTo>
                  <a:pt x="3949" y="2723"/>
                  <a:pt x="3955" y="2717"/>
                  <a:pt x="3958" y="2709"/>
                </a:cubicBezTo>
                <a:cubicBezTo>
                  <a:pt x="3972" y="2665"/>
                  <a:pt x="3972" y="2665"/>
                  <a:pt x="3972" y="2665"/>
                </a:cubicBezTo>
                <a:cubicBezTo>
                  <a:pt x="3986" y="2622"/>
                  <a:pt x="3986" y="2622"/>
                  <a:pt x="3986" y="2622"/>
                </a:cubicBezTo>
                <a:cubicBezTo>
                  <a:pt x="3989" y="2613"/>
                  <a:pt x="3987" y="2604"/>
                  <a:pt x="3982" y="2597"/>
                </a:cubicBezTo>
                <a:cubicBezTo>
                  <a:pt x="3862" y="2461"/>
                  <a:pt x="3893" y="2329"/>
                  <a:pt x="3893" y="2329"/>
                </a:cubicBezTo>
                <a:cubicBezTo>
                  <a:pt x="3893" y="2329"/>
                  <a:pt x="3904" y="2196"/>
                  <a:pt x="4060" y="2103"/>
                </a:cubicBezTo>
                <a:cubicBezTo>
                  <a:pt x="4067" y="2099"/>
                  <a:pt x="4072" y="2091"/>
                  <a:pt x="4072" y="2082"/>
                </a:cubicBezTo>
                <a:cubicBezTo>
                  <a:pt x="4072" y="2036"/>
                  <a:pt x="4072" y="2036"/>
                  <a:pt x="4072" y="2036"/>
                </a:cubicBezTo>
                <a:cubicBezTo>
                  <a:pt x="4072" y="1990"/>
                  <a:pt x="4072" y="1990"/>
                  <a:pt x="4072" y="1990"/>
                </a:cubicBezTo>
                <a:cubicBezTo>
                  <a:pt x="4072" y="1981"/>
                  <a:pt x="4067" y="1973"/>
                  <a:pt x="4060" y="1969"/>
                </a:cubicBezTo>
                <a:close/>
              </a:path>
            </a:pathLst>
          </a:custGeom>
          <a:solidFill>
            <a:srgbClr val="F40009"/>
          </a:solidFill>
          <a:ln>
            <a:noFill/>
          </a:ln>
        </p:spPr>
        <p:txBody>
          <a:bodyPr vert="horz" wrap="square" lIns="54864" tIns="27432" rIns="54864" bIns="27432" numCol="1" anchor="ctr" anchorCtr="0" compatLnSpc="1">
            <a:prstTxWarp prst="textNoShape">
              <a:avLst/>
            </a:prstTxWarp>
          </a:bodyPr>
          <a:lstStyle/>
          <a:p>
            <a:pPr algn="ctr" defTabSz="1097280">
              <a:defRPr/>
            </a:pPr>
            <a:r>
              <a:rPr lang="fr-BE" sz="144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Shared Services Centre</a:t>
            </a:r>
          </a:p>
        </p:txBody>
      </p:sp>
      <p:sp>
        <p:nvSpPr>
          <p:cNvPr id="32" name="Freeform 31"/>
          <p:cNvSpPr>
            <a:spLocks noChangeAspect="1"/>
          </p:cNvSpPr>
          <p:nvPr/>
        </p:nvSpPr>
        <p:spPr bwMode="auto">
          <a:xfrm>
            <a:off x="2598271" y="4963670"/>
            <a:ext cx="1171784" cy="1061345"/>
          </a:xfrm>
          <a:custGeom>
            <a:avLst/>
            <a:gdLst>
              <a:gd name="T0" fmla="*/ 3892 w 4072"/>
              <a:gd name="T1" fmla="*/ 1741 h 4072"/>
              <a:gd name="T2" fmla="*/ 3986 w 4072"/>
              <a:gd name="T3" fmla="*/ 1450 h 4072"/>
              <a:gd name="T4" fmla="*/ 3958 w 4072"/>
              <a:gd name="T5" fmla="*/ 1363 h 4072"/>
              <a:gd name="T6" fmla="*/ 3711 w 4072"/>
              <a:gd name="T7" fmla="*/ 1184 h 4072"/>
              <a:gd name="T8" fmla="*/ 3710 w 4072"/>
              <a:gd name="T9" fmla="*/ 876 h 4072"/>
              <a:gd name="T10" fmla="*/ 3656 w 4072"/>
              <a:gd name="T11" fmla="*/ 802 h 4072"/>
              <a:gd name="T12" fmla="*/ 3366 w 4072"/>
              <a:gd name="T13" fmla="*/ 708 h 4072"/>
              <a:gd name="T14" fmla="*/ 3270 w 4072"/>
              <a:gd name="T15" fmla="*/ 416 h 4072"/>
              <a:gd name="T16" fmla="*/ 3196 w 4072"/>
              <a:gd name="T17" fmla="*/ 362 h 4072"/>
              <a:gd name="T18" fmla="*/ 2890 w 4072"/>
              <a:gd name="T19" fmla="*/ 362 h 4072"/>
              <a:gd name="T20" fmla="*/ 2709 w 4072"/>
              <a:gd name="T21" fmla="*/ 114 h 4072"/>
              <a:gd name="T22" fmla="*/ 2622 w 4072"/>
              <a:gd name="T23" fmla="*/ 86 h 4072"/>
              <a:gd name="T24" fmla="*/ 2331 w 4072"/>
              <a:gd name="T25" fmla="*/ 180 h 4072"/>
              <a:gd name="T26" fmla="*/ 2082 w 4072"/>
              <a:gd name="T27" fmla="*/ 0 h 4072"/>
              <a:gd name="T28" fmla="*/ 1990 w 4072"/>
              <a:gd name="T29" fmla="*/ 0 h 4072"/>
              <a:gd name="T30" fmla="*/ 1743 w 4072"/>
              <a:gd name="T31" fmla="*/ 179 h 4072"/>
              <a:gd name="T32" fmla="*/ 1450 w 4072"/>
              <a:gd name="T33" fmla="*/ 86 h 4072"/>
              <a:gd name="T34" fmla="*/ 1363 w 4072"/>
              <a:gd name="T35" fmla="*/ 114 h 4072"/>
              <a:gd name="T36" fmla="*/ 1184 w 4072"/>
              <a:gd name="T37" fmla="*/ 361 h 4072"/>
              <a:gd name="T38" fmla="*/ 876 w 4072"/>
              <a:gd name="T39" fmla="*/ 362 h 4072"/>
              <a:gd name="T40" fmla="*/ 802 w 4072"/>
              <a:gd name="T41" fmla="*/ 416 h 4072"/>
              <a:gd name="T42" fmla="*/ 708 w 4072"/>
              <a:gd name="T43" fmla="*/ 706 h 4072"/>
              <a:gd name="T44" fmla="*/ 416 w 4072"/>
              <a:gd name="T45" fmla="*/ 802 h 4072"/>
              <a:gd name="T46" fmla="*/ 362 w 4072"/>
              <a:gd name="T47" fmla="*/ 876 h 4072"/>
              <a:gd name="T48" fmla="*/ 362 w 4072"/>
              <a:gd name="T49" fmla="*/ 1182 h 4072"/>
              <a:gd name="T50" fmla="*/ 114 w 4072"/>
              <a:gd name="T51" fmla="*/ 1363 h 4072"/>
              <a:gd name="T52" fmla="*/ 86 w 4072"/>
              <a:gd name="T53" fmla="*/ 1450 h 4072"/>
              <a:gd name="T54" fmla="*/ 180 w 4072"/>
              <a:gd name="T55" fmla="*/ 1741 h 4072"/>
              <a:gd name="T56" fmla="*/ 0 w 4072"/>
              <a:gd name="T57" fmla="*/ 1990 h 4072"/>
              <a:gd name="T58" fmla="*/ 0 w 4072"/>
              <a:gd name="T59" fmla="*/ 2082 h 4072"/>
              <a:gd name="T60" fmla="*/ 179 w 4072"/>
              <a:gd name="T61" fmla="*/ 2329 h 4072"/>
              <a:gd name="T62" fmla="*/ 86 w 4072"/>
              <a:gd name="T63" fmla="*/ 2622 h 4072"/>
              <a:gd name="T64" fmla="*/ 114 w 4072"/>
              <a:gd name="T65" fmla="*/ 2709 h 4072"/>
              <a:gd name="T66" fmla="*/ 362 w 4072"/>
              <a:gd name="T67" fmla="*/ 2890 h 4072"/>
              <a:gd name="T68" fmla="*/ 362 w 4072"/>
              <a:gd name="T69" fmla="*/ 3196 h 4072"/>
              <a:gd name="T70" fmla="*/ 416 w 4072"/>
              <a:gd name="T71" fmla="*/ 3270 h 4072"/>
              <a:gd name="T72" fmla="*/ 708 w 4072"/>
              <a:gd name="T73" fmla="*/ 3366 h 4072"/>
              <a:gd name="T74" fmla="*/ 802 w 4072"/>
              <a:gd name="T75" fmla="*/ 3656 h 4072"/>
              <a:gd name="T76" fmla="*/ 876 w 4072"/>
              <a:gd name="T77" fmla="*/ 3710 h 4072"/>
              <a:gd name="T78" fmla="*/ 1184 w 4072"/>
              <a:gd name="T79" fmla="*/ 3711 h 4072"/>
              <a:gd name="T80" fmla="*/ 1363 w 4072"/>
              <a:gd name="T81" fmla="*/ 3958 h 4072"/>
              <a:gd name="T82" fmla="*/ 1450 w 4072"/>
              <a:gd name="T83" fmla="*/ 3987 h 4072"/>
              <a:gd name="T84" fmla="*/ 1743 w 4072"/>
              <a:gd name="T85" fmla="*/ 3893 h 4072"/>
              <a:gd name="T86" fmla="*/ 1990 w 4072"/>
              <a:gd name="T87" fmla="*/ 4072 h 4072"/>
              <a:gd name="T88" fmla="*/ 2082 w 4072"/>
              <a:gd name="T89" fmla="*/ 4072 h 4072"/>
              <a:gd name="T90" fmla="*/ 2331 w 4072"/>
              <a:gd name="T91" fmla="*/ 3892 h 4072"/>
              <a:gd name="T92" fmla="*/ 2622 w 4072"/>
              <a:gd name="T93" fmla="*/ 3987 h 4072"/>
              <a:gd name="T94" fmla="*/ 2709 w 4072"/>
              <a:gd name="T95" fmla="*/ 3958 h 4072"/>
              <a:gd name="T96" fmla="*/ 2890 w 4072"/>
              <a:gd name="T97" fmla="*/ 3710 h 4072"/>
              <a:gd name="T98" fmla="*/ 3196 w 4072"/>
              <a:gd name="T99" fmla="*/ 3710 h 4072"/>
              <a:gd name="T100" fmla="*/ 3270 w 4072"/>
              <a:gd name="T101" fmla="*/ 3656 h 4072"/>
              <a:gd name="T102" fmla="*/ 3366 w 4072"/>
              <a:gd name="T103" fmla="*/ 3364 h 4072"/>
              <a:gd name="T104" fmla="*/ 3656 w 4072"/>
              <a:gd name="T105" fmla="*/ 3270 h 4072"/>
              <a:gd name="T106" fmla="*/ 3710 w 4072"/>
              <a:gd name="T107" fmla="*/ 3196 h 4072"/>
              <a:gd name="T108" fmla="*/ 3711 w 4072"/>
              <a:gd name="T109" fmla="*/ 2888 h 4072"/>
              <a:gd name="T110" fmla="*/ 3958 w 4072"/>
              <a:gd name="T111" fmla="*/ 2709 h 4072"/>
              <a:gd name="T112" fmla="*/ 3986 w 4072"/>
              <a:gd name="T113" fmla="*/ 2622 h 4072"/>
              <a:gd name="T114" fmla="*/ 3893 w 4072"/>
              <a:gd name="T115" fmla="*/ 2329 h 4072"/>
              <a:gd name="T116" fmla="*/ 4072 w 4072"/>
              <a:gd name="T117" fmla="*/ 2082 h 4072"/>
              <a:gd name="T118" fmla="*/ 4072 w 4072"/>
              <a:gd name="T119" fmla="*/ 1990 h 4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072" h="4072">
                <a:moveTo>
                  <a:pt x="4060" y="1969"/>
                </a:moveTo>
                <a:cubicBezTo>
                  <a:pt x="3904" y="1876"/>
                  <a:pt x="3892" y="1741"/>
                  <a:pt x="3892" y="1741"/>
                </a:cubicBezTo>
                <a:cubicBezTo>
                  <a:pt x="3892" y="1741"/>
                  <a:pt x="3862" y="1611"/>
                  <a:pt x="3982" y="1475"/>
                </a:cubicBezTo>
                <a:cubicBezTo>
                  <a:pt x="3987" y="1468"/>
                  <a:pt x="3989" y="1459"/>
                  <a:pt x="3986" y="1450"/>
                </a:cubicBezTo>
                <a:cubicBezTo>
                  <a:pt x="3972" y="1407"/>
                  <a:pt x="3972" y="1407"/>
                  <a:pt x="3972" y="1407"/>
                </a:cubicBezTo>
                <a:cubicBezTo>
                  <a:pt x="3958" y="1363"/>
                  <a:pt x="3958" y="1363"/>
                  <a:pt x="3958" y="1363"/>
                </a:cubicBezTo>
                <a:cubicBezTo>
                  <a:pt x="3955" y="1355"/>
                  <a:pt x="3949" y="1349"/>
                  <a:pt x="3940" y="1347"/>
                </a:cubicBezTo>
                <a:cubicBezTo>
                  <a:pt x="3763" y="1306"/>
                  <a:pt x="3711" y="1184"/>
                  <a:pt x="3711" y="1184"/>
                </a:cubicBezTo>
                <a:cubicBezTo>
                  <a:pt x="3711" y="1184"/>
                  <a:pt x="3642" y="1067"/>
                  <a:pt x="3713" y="901"/>
                </a:cubicBezTo>
                <a:cubicBezTo>
                  <a:pt x="3716" y="893"/>
                  <a:pt x="3715" y="883"/>
                  <a:pt x="3710" y="876"/>
                </a:cubicBezTo>
                <a:cubicBezTo>
                  <a:pt x="3683" y="839"/>
                  <a:pt x="3683" y="839"/>
                  <a:pt x="3683" y="839"/>
                </a:cubicBezTo>
                <a:cubicBezTo>
                  <a:pt x="3656" y="802"/>
                  <a:pt x="3656" y="802"/>
                  <a:pt x="3656" y="802"/>
                </a:cubicBezTo>
                <a:cubicBezTo>
                  <a:pt x="3651" y="795"/>
                  <a:pt x="3643" y="791"/>
                  <a:pt x="3634" y="792"/>
                </a:cubicBezTo>
                <a:cubicBezTo>
                  <a:pt x="3453" y="808"/>
                  <a:pt x="3366" y="708"/>
                  <a:pt x="3366" y="708"/>
                </a:cubicBezTo>
                <a:cubicBezTo>
                  <a:pt x="3366" y="708"/>
                  <a:pt x="3264" y="619"/>
                  <a:pt x="3280" y="438"/>
                </a:cubicBezTo>
                <a:cubicBezTo>
                  <a:pt x="3281" y="429"/>
                  <a:pt x="3277" y="421"/>
                  <a:pt x="3270" y="416"/>
                </a:cubicBezTo>
                <a:cubicBezTo>
                  <a:pt x="3233" y="389"/>
                  <a:pt x="3233" y="389"/>
                  <a:pt x="3233" y="389"/>
                </a:cubicBezTo>
                <a:cubicBezTo>
                  <a:pt x="3196" y="362"/>
                  <a:pt x="3196" y="362"/>
                  <a:pt x="3196" y="362"/>
                </a:cubicBezTo>
                <a:cubicBezTo>
                  <a:pt x="3189" y="357"/>
                  <a:pt x="3179" y="356"/>
                  <a:pt x="3171" y="359"/>
                </a:cubicBezTo>
                <a:cubicBezTo>
                  <a:pt x="3005" y="430"/>
                  <a:pt x="2890" y="362"/>
                  <a:pt x="2890" y="362"/>
                </a:cubicBezTo>
                <a:cubicBezTo>
                  <a:pt x="2890" y="362"/>
                  <a:pt x="2766" y="309"/>
                  <a:pt x="2725" y="132"/>
                </a:cubicBezTo>
                <a:cubicBezTo>
                  <a:pt x="2723" y="123"/>
                  <a:pt x="2717" y="117"/>
                  <a:pt x="2709" y="114"/>
                </a:cubicBezTo>
                <a:cubicBezTo>
                  <a:pt x="2665" y="100"/>
                  <a:pt x="2665" y="100"/>
                  <a:pt x="2665" y="100"/>
                </a:cubicBezTo>
                <a:cubicBezTo>
                  <a:pt x="2622" y="86"/>
                  <a:pt x="2622" y="86"/>
                  <a:pt x="2622" y="86"/>
                </a:cubicBezTo>
                <a:cubicBezTo>
                  <a:pt x="2613" y="83"/>
                  <a:pt x="2604" y="85"/>
                  <a:pt x="2597" y="90"/>
                </a:cubicBezTo>
                <a:cubicBezTo>
                  <a:pt x="2461" y="210"/>
                  <a:pt x="2331" y="180"/>
                  <a:pt x="2331" y="180"/>
                </a:cubicBezTo>
                <a:cubicBezTo>
                  <a:pt x="2331" y="180"/>
                  <a:pt x="2196" y="168"/>
                  <a:pt x="2103" y="12"/>
                </a:cubicBezTo>
                <a:cubicBezTo>
                  <a:pt x="2099" y="5"/>
                  <a:pt x="2091" y="0"/>
                  <a:pt x="2082" y="0"/>
                </a:cubicBezTo>
                <a:cubicBezTo>
                  <a:pt x="2036" y="0"/>
                  <a:pt x="2036" y="0"/>
                  <a:pt x="2036" y="0"/>
                </a:cubicBezTo>
                <a:cubicBezTo>
                  <a:pt x="1990" y="0"/>
                  <a:pt x="1990" y="0"/>
                  <a:pt x="1990" y="0"/>
                </a:cubicBezTo>
                <a:cubicBezTo>
                  <a:pt x="1981" y="0"/>
                  <a:pt x="1973" y="5"/>
                  <a:pt x="1969" y="12"/>
                </a:cubicBezTo>
                <a:cubicBezTo>
                  <a:pt x="1876" y="168"/>
                  <a:pt x="1743" y="179"/>
                  <a:pt x="1743" y="179"/>
                </a:cubicBezTo>
                <a:cubicBezTo>
                  <a:pt x="1743" y="179"/>
                  <a:pt x="1611" y="210"/>
                  <a:pt x="1475" y="90"/>
                </a:cubicBezTo>
                <a:cubicBezTo>
                  <a:pt x="1468" y="85"/>
                  <a:pt x="1459" y="83"/>
                  <a:pt x="1450" y="86"/>
                </a:cubicBezTo>
                <a:cubicBezTo>
                  <a:pt x="1407" y="100"/>
                  <a:pt x="1407" y="100"/>
                  <a:pt x="1407" y="100"/>
                </a:cubicBezTo>
                <a:cubicBezTo>
                  <a:pt x="1363" y="114"/>
                  <a:pt x="1363" y="114"/>
                  <a:pt x="1363" y="114"/>
                </a:cubicBezTo>
                <a:cubicBezTo>
                  <a:pt x="1355" y="117"/>
                  <a:pt x="1349" y="123"/>
                  <a:pt x="1347" y="132"/>
                </a:cubicBezTo>
                <a:cubicBezTo>
                  <a:pt x="1306" y="309"/>
                  <a:pt x="1184" y="361"/>
                  <a:pt x="1184" y="361"/>
                </a:cubicBezTo>
                <a:cubicBezTo>
                  <a:pt x="1184" y="361"/>
                  <a:pt x="1067" y="430"/>
                  <a:pt x="901" y="359"/>
                </a:cubicBezTo>
                <a:cubicBezTo>
                  <a:pt x="893" y="356"/>
                  <a:pt x="883" y="357"/>
                  <a:pt x="876" y="362"/>
                </a:cubicBezTo>
                <a:cubicBezTo>
                  <a:pt x="839" y="389"/>
                  <a:pt x="839" y="389"/>
                  <a:pt x="839" y="389"/>
                </a:cubicBezTo>
                <a:cubicBezTo>
                  <a:pt x="802" y="416"/>
                  <a:pt x="802" y="416"/>
                  <a:pt x="802" y="416"/>
                </a:cubicBezTo>
                <a:cubicBezTo>
                  <a:pt x="795" y="421"/>
                  <a:pt x="791" y="430"/>
                  <a:pt x="792" y="438"/>
                </a:cubicBezTo>
                <a:cubicBezTo>
                  <a:pt x="808" y="619"/>
                  <a:pt x="708" y="706"/>
                  <a:pt x="708" y="706"/>
                </a:cubicBezTo>
                <a:cubicBezTo>
                  <a:pt x="708" y="706"/>
                  <a:pt x="619" y="808"/>
                  <a:pt x="438" y="792"/>
                </a:cubicBezTo>
                <a:cubicBezTo>
                  <a:pt x="429" y="791"/>
                  <a:pt x="421" y="795"/>
                  <a:pt x="416" y="802"/>
                </a:cubicBezTo>
                <a:cubicBezTo>
                  <a:pt x="389" y="839"/>
                  <a:pt x="389" y="839"/>
                  <a:pt x="389" y="839"/>
                </a:cubicBezTo>
                <a:cubicBezTo>
                  <a:pt x="362" y="876"/>
                  <a:pt x="362" y="876"/>
                  <a:pt x="362" y="876"/>
                </a:cubicBezTo>
                <a:cubicBezTo>
                  <a:pt x="357" y="883"/>
                  <a:pt x="356" y="893"/>
                  <a:pt x="359" y="901"/>
                </a:cubicBezTo>
                <a:cubicBezTo>
                  <a:pt x="430" y="1067"/>
                  <a:pt x="362" y="1182"/>
                  <a:pt x="362" y="1182"/>
                </a:cubicBezTo>
                <a:cubicBezTo>
                  <a:pt x="362" y="1182"/>
                  <a:pt x="309" y="1306"/>
                  <a:pt x="132" y="1347"/>
                </a:cubicBezTo>
                <a:cubicBezTo>
                  <a:pt x="123" y="1349"/>
                  <a:pt x="117" y="1355"/>
                  <a:pt x="114" y="1363"/>
                </a:cubicBezTo>
                <a:cubicBezTo>
                  <a:pt x="100" y="1407"/>
                  <a:pt x="100" y="1407"/>
                  <a:pt x="100" y="1407"/>
                </a:cubicBezTo>
                <a:cubicBezTo>
                  <a:pt x="86" y="1450"/>
                  <a:pt x="86" y="1450"/>
                  <a:pt x="86" y="1450"/>
                </a:cubicBezTo>
                <a:cubicBezTo>
                  <a:pt x="83" y="1459"/>
                  <a:pt x="85" y="1468"/>
                  <a:pt x="90" y="1475"/>
                </a:cubicBezTo>
                <a:cubicBezTo>
                  <a:pt x="210" y="1611"/>
                  <a:pt x="180" y="1741"/>
                  <a:pt x="180" y="1741"/>
                </a:cubicBezTo>
                <a:cubicBezTo>
                  <a:pt x="180" y="1741"/>
                  <a:pt x="168" y="1876"/>
                  <a:pt x="12" y="1969"/>
                </a:cubicBezTo>
                <a:cubicBezTo>
                  <a:pt x="5" y="1973"/>
                  <a:pt x="0" y="1981"/>
                  <a:pt x="0" y="1990"/>
                </a:cubicBezTo>
                <a:cubicBezTo>
                  <a:pt x="0" y="2036"/>
                  <a:pt x="0" y="2036"/>
                  <a:pt x="0" y="2036"/>
                </a:cubicBezTo>
                <a:cubicBezTo>
                  <a:pt x="0" y="2082"/>
                  <a:pt x="0" y="2082"/>
                  <a:pt x="0" y="2082"/>
                </a:cubicBezTo>
                <a:cubicBezTo>
                  <a:pt x="0" y="2091"/>
                  <a:pt x="5" y="2099"/>
                  <a:pt x="12" y="2103"/>
                </a:cubicBezTo>
                <a:cubicBezTo>
                  <a:pt x="168" y="2196"/>
                  <a:pt x="179" y="2329"/>
                  <a:pt x="179" y="2329"/>
                </a:cubicBezTo>
                <a:cubicBezTo>
                  <a:pt x="179" y="2329"/>
                  <a:pt x="210" y="2461"/>
                  <a:pt x="90" y="2597"/>
                </a:cubicBezTo>
                <a:cubicBezTo>
                  <a:pt x="85" y="2604"/>
                  <a:pt x="83" y="2613"/>
                  <a:pt x="86" y="2622"/>
                </a:cubicBezTo>
                <a:cubicBezTo>
                  <a:pt x="100" y="2665"/>
                  <a:pt x="100" y="2665"/>
                  <a:pt x="100" y="2665"/>
                </a:cubicBezTo>
                <a:cubicBezTo>
                  <a:pt x="114" y="2709"/>
                  <a:pt x="114" y="2709"/>
                  <a:pt x="114" y="2709"/>
                </a:cubicBezTo>
                <a:cubicBezTo>
                  <a:pt x="117" y="2717"/>
                  <a:pt x="123" y="2723"/>
                  <a:pt x="132" y="2725"/>
                </a:cubicBezTo>
                <a:cubicBezTo>
                  <a:pt x="309" y="2766"/>
                  <a:pt x="362" y="2890"/>
                  <a:pt x="362" y="2890"/>
                </a:cubicBezTo>
                <a:cubicBezTo>
                  <a:pt x="362" y="2890"/>
                  <a:pt x="430" y="3005"/>
                  <a:pt x="359" y="3171"/>
                </a:cubicBezTo>
                <a:cubicBezTo>
                  <a:pt x="356" y="3179"/>
                  <a:pt x="357" y="3189"/>
                  <a:pt x="362" y="3196"/>
                </a:cubicBezTo>
                <a:cubicBezTo>
                  <a:pt x="389" y="3233"/>
                  <a:pt x="389" y="3233"/>
                  <a:pt x="389" y="3233"/>
                </a:cubicBezTo>
                <a:cubicBezTo>
                  <a:pt x="416" y="3270"/>
                  <a:pt x="416" y="3270"/>
                  <a:pt x="416" y="3270"/>
                </a:cubicBezTo>
                <a:cubicBezTo>
                  <a:pt x="421" y="3277"/>
                  <a:pt x="429" y="3281"/>
                  <a:pt x="438" y="3280"/>
                </a:cubicBezTo>
                <a:cubicBezTo>
                  <a:pt x="619" y="3264"/>
                  <a:pt x="708" y="3366"/>
                  <a:pt x="708" y="3366"/>
                </a:cubicBezTo>
                <a:cubicBezTo>
                  <a:pt x="708" y="3366"/>
                  <a:pt x="808" y="3453"/>
                  <a:pt x="792" y="3634"/>
                </a:cubicBezTo>
                <a:cubicBezTo>
                  <a:pt x="791" y="3643"/>
                  <a:pt x="795" y="3651"/>
                  <a:pt x="802" y="3656"/>
                </a:cubicBezTo>
                <a:cubicBezTo>
                  <a:pt x="839" y="3683"/>
                  <a:pt x="839" y="3683"/>
                  <a:pt x="839" y="3683"/>
                </a:cubicBezTo>
                <a:cubicBezTo>
                  <a:pt x="876" y="3710"/>
                  <a:pt x="876" y="3710"/>
                  <a:pt x="876" y="3710"/>
                </a:cubicBezTo>
                <a:cubicBezTo>
                  <a:pt x="883" y="3715"/>
                  <a:pt x="893" y="3716"/>
                  <a:pt x="901" y="3713"/>
                </a:cubicBezTo>
                <a:cubicBezTo>
                  <a:pt x="1067" y="3642"/>
                  <a:pt x="1184" y="3711"/>
                  <a:pt x="1184" y="3711"/>
                </a:cubicBezTo>
                <a:cubicBezTo>
                  <a:pt x="1184" y="3711"/>
                  <a:pt x="1306" y="3764"/>
                  <a:pt x="1347" y="3940"/>
                </a:cubicBezTo>
                <a:cubicBezTo>
                  <a:pt x="1349" y="3949"/>
                  <a:pt x="1355" y="3955"/>
                  <a:pt x="1363" y="3958"/>
                </a:cubicBezTo>
                <a:cubicBezTo>
                  <a:pt x="1407" y="3972"/>
                  <a:pt x="1407" y="3972"/>
                  <a:pt x="1407" y="3972"/>
                </a:cubicBezTo>
                <a:cubicBezTo>
                  <a:pt x="1450" y="3987"/>
                  <a:pt x="1450" y="3987"/>
                  <a:pt x="1450" y="3987"/>
                </a:cubicBezTo>
                <a:cubicBezTo>
                  <a:pt x="1459" y="3989"/>
                  <a:pt x="1468" y="3987"/>
                  <a:pt x="1475" y="3982"/>
                </a:cubicBezTo>
                <a:cubicBezTo>
                  <a:pt x="1611" y="3862"/>
                  <a:pt x="1743" y="3893"/>
                  <a:pt x="1743" y="3893"/>
                </a:cubicBezTo>
                <a:cubicBezTo>
                  <a:pt x="1743" y="3893"/>
                  <a:pt x="1876" y="3904"/>
                  <a:pt x="1969" y="4060"/>
                </a:cubicBezTo>
                <a:cubicBezTo>
                  <a:pt x="1973" y="4067"/>
                  <a:pt x="1981" y="4072"/>
                  <a:pt x="1990" y="4072"/>
                </a:cubicBezTo>
                <a:cubicBezTo>
                  <a:pt x="2036" y="4072"/>
                  <a:pt x="2036" y="4072"/>
                  <a:pt x="2036" y="4072"/>
                </a:cubicBezTo>
                <a:cubicBezTo>
                  <a:pt x="2082" y="4072"/>
                  <a:pt x="2082" y="4072"/>
                  <a:pt x="2082" y="4072"/>
                </a:cubicBezTo>
                <a:cubicBezTo>
                  <a:pt x="2091" y="4072"/>
                  <a:pt x="2099" y="4067"/>
                  <a:pt x="2103" y="4060"/>
                </a:cubicBezTo>
                <a:cubicBezTo>
                  <a:pt x="2196" y="3904"/>
                  <a:pt x="2331" y="3892"/>
                  <a:pt x="2331" y="3892"/>
                </a:cubicBezTo>
                <a:cubicBezTo>
                  <a:pt x="2331" y="3892"/>
                  <a:pt x="2461" y="3862"/>
                  <a:pt x="2597" y="3982"/>
                </a:cubicBezTo>
                <a:cubicBezTo>
                  <a:pt x="2604" y="3987"/>
                  <a:pt x="2613" y="3989"/>
                  <a:pt x="2622" y="3987"/>
                </a:cubicBezTo>
                <a:cubicBezTo>
                  <a:pt x="2665" y="3972"/>
                  <a:pt x="2665" y="3972"/>
                  <a:pt x="2665" y="3972"/>
                </a:cubicBezTo>
                <a:cubicBezTo>
                  <a:pt x="2709" y="3958"/>
                  <a:pt x="2709" y="3958"/>
                  <a:pt x="2709" y="3958"/>
                </a:cubicBezTo>
                <a:cubicBezTo>
                  <a:pt x="2717" y="3955"/>
                  <a:pt x="2723" y="3949"/>
                  <a:pt x="2725" y="3940"/>
                </a:cubicBezTo>
                <a:cubicBezTo>
                  <a:pt x="2766" y="3764"/>
                  <a:pt x="2890" y="3710"/>
                  <a:pt x="2890" y="3710"/>
                </a:cubicBezTo>
                <a:cubicBezTo>
                  <a:pt x="2890" y="3710"/>
                  <a:pt x="3005" y="3642"/>
                  <a:pt x="3171" y="3713"/>
                </a:cubicBezTo>
                <a:cubicBezTo>
                  <a:pt x="3179" y="3716"/>
                  <a:pt x="3189" y="3715"/>
                  <a:pt x="3196" y="3710"/>
                </a:cubicBezTo>
                <a:cubicBezTo>
                  <a:pt x="3233" y="3683"/>
                  <a:pt x="3233" y="3683"/>
                  <a:pt x="3233" y="3683"/>
                </a:cubicBezTo>
                <a:cubicBezTo>
                  <a:pt x="3270" y="3656"/>
                  <a:pt x="3270" y="3656"/>
                  <a:pt x="3270" y="3656"/>
                </a:cubicBezTo>
                <a:cubicBezTo>
                  <a:pt x="3277" y="3651"/>
                  <a:pt x="3281" y="3643"/>
                  <a:pt x="3280" y="3634"/>
                </a:cubicBezTo>
                <a:cubicBezTo>
                  <a:pt x="3264" y="3453"/>
                  <a:pt x="3366" y="3364"/>
                  <a:pt x="3366" y="3364"/>
                </a:cubicBezTo>
                <a:cubicBezTo>
                  <a:pt x="3366" y="3364"/>
                  <a:pt x="3453" y="3264"/>
                  <a:pt x="3634" y="3280"/>
                </a:cubicBezTo>
                <a:cubicBezTo>
                  <a:pt x="3643" y="3281"/>
                  <a:pt x="3651" y="3277"/>
                  <a:pt x="3656" y="3270"/>
                </a:cubicBezTo>
                <a:cubicBezTo>
                  <a:pt x="3683" y="3233"/>
                  <a:pt x="3683" y="3233"/>
                  <a:pt x="3683" y="3233"/>
                </a:cubicBezTo>
                <a:cubicBezTo>
                  <a:pt x="3710" y="3196"/>
                  <a:pt x="3710" y="3196"/>
                  <a:pt x="3710" y="3196"/>
                </a:cubicBezTo>
                <a:cubicBezTo>
                  <a:pt x="3715" y="3189"/>
                  <a:pt x="3716" y="3179"/>
                  <a:pt x="3713" y="3171"/>
                </a:cubicBezTo>
                <a:cubicBezTo>
                  <a:pt x="3642" y="3005"/>
                  <a:pt x="3711" y="2888"/>
                  <a:pt x="3711" y="2888"/>
                </a:cubicBezTo>
                <a:cubicBezTo>
                  <a:pt x="3711" y="2888"/>
                  <a:pt x="3763" y="2766"/>
                  <a:pt x="3940" y="2725"/>
                </a:cubicBezTo>
                <a:cubicBezTo>
                  <a:pt x="3949" y="2723"/>
                  <a:pt x="3955" y="2717"/>
                  <a:pt x="3958" y="2709"/>
                </a:cubicBezTo>
                <a:cubicBezTo>
                  <a:pt x="3972" y="2665"/>
                  <a:pt x="3972" y="2665"/>
                  <a:pt x="3972" y="2665"/>
                </a:cubicBezTo>
                <a:cubicBezTo>
                  <a:pt x="3986" y="2622"/>
                  <a:pt x="3986" y="2622"/>
                  <a:pt x="3986" y="2622"/>
                </a:cubicBezTo>
                <a:cubicBezTo>
                  <a:pt x="3989" y="2613"/>
                  <a:pt x="3987" y="2604"/>
                  <a:pt x="3982" y="2597"/>
                </a:cubicBezTo>
                <a:cubicBezTo>
                  <a:pt x="3862" y="2461"/>
                  <a:pt x="3893" y="2329"/>
                  <a:pt x="3893" y="2329"/>
                </a:cubicBezTo>
                <a:cubicBezTo>
                  <a:pt x="3893" y="2329"/>
                  <a:pt x="3904" y="2196"/>
                  <a:pt x="4060" y="2103"/>
                </a:cubicBezTo>
                <a:cubicBezTo>
                  <a:pt x="4067" y="2099"/>
                  <a:pt x="4072" y="2091"/>
                  <a:pt x="4072" y="2082"/>
                </a:cubicBezTo>
                <a:cubicBezTo>
                  <a:pt x="4072" y="2036"/>
                  <a:pt x="4072" y="2036"/>
                  <a:pt x="4072" y="2036"/>
                </a:cubicBezTo>
                <a:cubicBezTo>
                  <a:pt x="4072" y="1990"/>
                  <a:pt x="4072" y="1990"/>
                  <a:pt x="4072" y="1990"/>
                </a:cubicBezTo>
                <a:cubicBezTo>
                  <a:pt x="4072" y="1981"/>
                  <a:pt x="4067" y="1973"/>
                  <a:pt x="4060" y="1969"/>
                </a:cubicBezTo>
                <a:close/>
              </a:path>
            </a:pathLst>
          </a:custGeom>
          <a:solidFill>
            <a:srgbClr val="74AB50"/>
          </a:solidFill>
          <a:ln>
            <a:noFill/>
          </a:ln>
        </p:spPr>
        <p:txBody>
          <a:bodyPr vert="horz" wrap="square" lIns="54864" tIns="27432" rIns="54864" bIns="27432" numCol="1" anchor="ctr" anchorCtr="0" compatLnSpc="1">
            <a:prstTxWarp prst="textNoShape">
              <a:avLst/>
            </a:prstTxWarp>
          </a:bodyPr>
          <a:lstStyle/>
          <a:p>
            <a:pPr algn="ctr" defTabSz="1097280">
              <a:defRPr/>
            </a:pPr>
            <a:r>
              <a:rPr lang="fr-BE" sz="1440" b="1" kern="0" dirty="0">
                <a:solidFill>
                  <a:prstClr val="white"/>
                </a:solidFill>
                <a:latin typeface="Gotham Book"/>
                <a:ea typeface="ＭＳ Ｐゴシック" charset="0"/>
              </a:rPr>
              <a:t>Global Finance Functions</a:t>
            </a:r>
          </a:p>
        </p:txBody>
      </p:sp>
    </p:spTree>
    <p:extLst>
      <p:ext uri="{BB962C8B-B14F-4D97-AF65-F5344CB8AC3E}">
        <p14:creationId xmlns:p14="http://schemas.microsoft.com/office/powerpoint/2010/main" val="778561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BEB895A-AD61-48F2-9040-3B5531D53C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22960"/>
            <a:fld id="{43F496C9-0AD9-C24F-92EB-2D26D61C9EC0}" type="slidenum">
              <a:rPr lang="nl-NL">
                <a:solidFill>
                  <a:srgbClr val="FFFFFF"/>
                </a:solidFill>
                <a:latin typeface="Gill Sans MT" panose="020B0502020104020203"/>
              </a:rPr>
              <a:pPr defTabSz="822960"/>
              <a:t>7</a:t>
            </a:fld>
            <a:endParaRPr lang="nl-NL" dirty="0">
              <a:solidFill>
                <a:srgbClr val="FFFFFF"/>
              </a:solidFill>
              <a:latin typeface="Gill Sans MT" panose="020B0502020104020203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ACC30ED-2A98-420A-9269-754B3BC9C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0480" y="3017520"/>
            <a:ext cx="7040880" cy="1371600"/>
          </a:xfrm>
        </p:spPr>
        <p:txBody>
          <a:bodyPr>
            <a:noAutofit/>
          </a:bodyPr>
          <a:lstStyle/>
          <a:p>
            <a:r>
              <a:rPr lang="en-GB" sz="5280" dirty="0"/>
              <a:t>Finance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2155858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Image result for a journey of a thousand miles begins with a single step business">
            <a:extLst>
              <a:ext uri="{FF2B5EF4-FFF2-40B4-BE49-F238E27FC236}">
                <a16:creationId xmlns:a16="http://schemas.microsoft.com/office/drawing/2014/main" id="{4815FF09-ADE4-4B4E-8F6B-765AA7D533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4630400" cy="82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3132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Picture 7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80754" y="2991475"/>
            <a:ext cx="582930" cy="172307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30769" y="1946"/>
          <a:ext cx="1904" cy="19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830769" y="1946"/>
                        <a:ext cx="1904" cy="19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>
          <a:xfrm>
            <a:off x="1828800" y="0"/>
            <a:ext cx="190500" cy="190500"/>
          </a:xfrm>
          <a:prstGeom prst="rect">
            <a:avLst/>
          </a:prstGeom>
          <a:noFill/>
          <a:ln w="254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48640">
              <a:spcBef>
                <a:spcPct val="0"/>
              </a:spcBef>
              <a:spcAft>
                <a:spcPct val="0"/>
              </a:spcAft>
            </a:pPr>
            <a:endParaRPr lang="en-GB" sz="3000" dirty="0">
              <a:solidFill>
                <a:prstClr val="black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28600" y="254391"/>
            <a:ext cx="11052035" cy="950596"/>
          </a:xfrm>
        </p:spPr>
        <p:txBody>
          <a:bodyPr>
            <a:noAutofit/>
          </a:bodyPr>
          <a:lstStyle/>
          <a:p>
            <a:r>
              <a:rPr lang="en-GB" sz="3600" b="1" dirty="0"/>
              <a:t>Finance Transformation Journey 2007 to 2019</a:t>
            </a:r>
          </a:p>
        </p:txBody>
      </p:sp>
      <p:sp>
        <p:nvSpPr>
          <p:cNvPr id="75" name=" 3"/>
          <p:cNvSpPr/>
          <p:nvPr/>
        </p:nvSpPr>
        <p:spPr>
          <a:xfrm>
            <a:off x="1957805" y="2491709"/>
            <a:ext cx="10726159" cy="4466700"/>
          </a:xfrm>
          <a:prstGeom prst="swooshArrow">
            <a:avLst>
              <a:gd name="adj1" fmla="val 25000"/>
              <a:gd name="adj2" fmla="val 25000"/>
            </a:avLst>
          </a:prstGeom>
          <a:noFill/>
          <a:ln w="381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/>
          <a:lstStyle/>
          <a:p>
            <a:pPr defTabSz="411480">
              <a:defRPr/>
            </a:pPr>
            <a:endParaRPr lang="en-US" sz="1620" kern="0" dirty="0">
              <a:solidFill>
                <a:srgbClr val="000000"/>
              </a:solidFill>
              <a:latin typeface="Gill Sans MT" panose="020B0502020104020203"/>
              <a:ea typeface="ＭＳ Ｐゴシック" charset="0"/>
            </a:endParaRPr>
          </a:p>
        </p:txBody>
      </p:sp>
      <p:pic>
        <p:nvPicPr>
          <p:cNvPr id="76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9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76263" y="6125585"/>
            <a:ext cx="322274" cy="322274"/>
          </a:xfrm>
          <a:prstGeom prst="rect">
            <a:avLst/>
          </a:prstGeom>
          <a:noFill/>
        </p:spPr>
      </p:pic>
      <p:sp>
        <p:nvSpPr>
          <p:cNvPr id="77" name="TextBox 76"/>
          <p:cNvSpPr txBox="1"/>
          <p:nvPr/>
        </p:nvSpPr>
        <p:spPr>
          <a:xfrm>
            <a:off x="2208180" y="5670173"/>
            <a:ext cx="786541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nl-NL" sz="1320" dirty="0">
                <a:solidFill>
                  <a:srgbClr val="FF0000"/>
                </a:solidFill>
                <a:ea typeface="ＭＳ Ｐゴシック" charset="0"/>
              </a:rPr>
              <a:t>2007/9</a:t>
            </a:r>
          </a:p>
        </p:txBody>
      </p:sp>
      <p:sp>
        <p:nvSpPr>
          <p:cNvPr id="78" name="Rectangle 77"/>
          <p:cNvSpPr/>
          <p:nvPr/>
        </p:nvSpPr>
        <p:spPr bwMode="auto">
          <a:xfrm>
            <a:off x="1954024" y="6910440"/>
            <a:ext cx="1095584" cy="91997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Finance Optimization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Global service delivery model set up, migrating processes to Tampa and CG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712460" y="4175130"/>
            <a:ext cx="615320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nl-NL" sz="1320" dirty="0">
                <a:solidFill>
                  <a:srgbClr val="FF0000"/>
                </a:solidFill>
                <a:ea typeface="ＭＳ Ｐゴシック" charset="0"/>
              </a:rPr>
              <a:t>2011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5726073" y="3769162"/>
            <a:ext cx="811441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en-US" sz="1320" dirty="0">
                <a:solidFill>
                  <a:srgbClr val="FF0000"/>
                </a:solidFill>
                <a:ea typeface="ＭＳ Ｐゴシック" charset="0"/>
              </a:rPr>
              <a:t>2012/13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341083" y="3402086"/>
            <a:ext cx="674177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en-US" sz="1320" dirty="0">
                <a:solidFill>
                  <a:srgbClr val="FF0000"/>
                </a:solidFill>
                <a:ea typeface="ＭＳ Ｐゴシック" charset="0"/>
              </a:rPr>
              <a:t>2013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8430293" y="3077885"/>
            <a:ext cx="1045147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en-US" sz="1320" dirty="0">
                <a:solidFill>
                  <a:srgbClr val="FF0000"/>
                </a:solidFill>
                <a:ea typeface="ＭＳ Ｐゴシック" charset="0"/>
              </a:rPr>
              <a:t>2014/15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9475441" y="2965396"/>
            <a:ext cx="986780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en-US" sz="1320" dirty="0">
                <a:solidFill>
                  <a:srgbClr val="FF0000"/>
                </a:solidFill>
                <a:ea typeface="ＭＳ Ｐゴシック" charset="0"/>
              </a:rPr>
              <a:t>2015/16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0571834" y="2818656"/>
            <a:ext cx="986780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en-US" sz="1320" dirty="0">
                <a:solidFill>
                  <a:srgbClr val="FF0000"/>
                </a:solidFill>
                <a:ea typeface="ＭＳ Ｐゴシック" charset="0"/>
              </a:rPr>
              <a:t>2016/19</a:t>
            </a:r>
          </a:p>
        </p:txBody>
      </p:sp>
      <p:pic>
        <p:nvPicPr>
          <p:cNvPr id="87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10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8174" y="4719668"/>
            <a:ext cx="553196" cy="553196"/>
          </a:xfrm>
          <a:prstGeom prst="rect">
            <a:avLst/>
          </a:prstGeom>
          <a:noFill/>
        </p:spPr>
      </p:pic>
      <p:pic>
        <p:nvPicPr>
          <p:cNvPr id="88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11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2464" y="4257437"/>
            <a:ext cx="548640" cy="548640"/>
          </a:xfrm>
          <a:prstGeom prst="rect">
            <a:avLst/>
          </a:prstGeom>
          <a:noFill/>
        </p:spPr>
      </p:pic>
      <p:pic>
        <p:nvPicPr>
          <p:cNvPr id="89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11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41083" y="3942058"/>
            <a:ext cx="548640" cy="548640"/>
          </a:xfrm>
          <a:prstGeom prst="rect">
            <a:avLst/>
          </a:prstGeom>
          <a:noFill/>
        </p:spPr>
      </p:pic>
      <p:pic>
        <p:nvPicPr>
          <p:cNvPr id="90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11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1162" y="3682752"/>
            <a:ext cx="548640" cy="548640"/>
          </a:xfrm>
          <a:prstGeom prst="rect">
            <a:avLst/>
          </a:prstGeom>
          <a:noFill/>
        </p:spPr>
      </p:pic>
      <p:pic>
        <p:nvPicPr>
          <p:cNvPr id="91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11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8077" y="3523896"/>
            <a:ext cx="548640" cy="548640"/>
          </a:xfrm>
          <a:prstGeom prst="rect">
            <a:avLst/>
          </a:prstGeom>
          <a:noFill/>
        </p:spPr>
      </p:pic>
      <p:sp>
        <p:nvSpPr>
          <p:cNvPr id="92" name="TextBox 91"/>
          <p:cNvSpPr txBox="1"/>
          <p:nvPr/>
        </p:nvSpPr>
        <p:spPr>
          <a:xfrm>
            <a:off x="11622221" y="3250704"/>
            <a:ext cx="791146" cy="54104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algn="ctr" defTabSz="853440"/>
            <a:r>
              <a:rPr lang="en-US" sz="1620" dirty="0">
                <a:solidFill>
                  <a:srgbClr val="FF0000"/>
                </a:solidFill>
                <a:ea typeface="ＭＳ Ｐゴシック" charset="0"/>
              </a:rPr>
              <a:t>The Future</a:t>
            </a:r>
          </a:p>
        </p:txBody>
      </p:sp>
      <p:sp>
        <p:nvSpPr>
          <p:cNvPr id="93" name="Rectangle 92"/>
          <p:cNvSpPr/>
          <p:nvPr/>
        </p:nvSpPr>
        <p:spPr bwMode="auto">
          <a:xfrm>
            <a:off x="4316698" y="5671653"/>
            <a:ext cx="1097491" cy="84986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New Finance Vision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ost transaction, position the longer term objectives of Finance. OCM Focus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108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5429100" y="5229677"/>
            <a:ext cx="1454053" cy="24073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Finance Transition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et-up of SSC in </a:t>
            </a:r>
            <a:r>
              <a:rPr lang="en-GB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ofia</a:t>
            </a: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, Bulgaria - focusing in-country finance teams away from transactional responsibility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PM – Business Partnering &amp; RGM Focus implementation of BPC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08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5" name="Rectangle 94"/>
          <p:cNvSpPr/>
          <p:nvPr/>
        </p:nvSpPr>
        <p:spPr bwMode="auto">
          <a:xfrm>
            <a:off x="6936720" y="4825368"/>
            <a:ext cx="1242576" cy="10176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reation of CCIP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Formation across  local bottlers to create a new Iberia Finance function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SC created to service all Spanish Companies and Reporting Factory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08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6" name="Rectangle 95"/>
          <p:cNvSpPr/>
          <p:nvPr/>
        </p:nvSpPr>
        <p:spPr bwMode="auto">
          <a:xfrm>
            <a:off x="8321376" y="4657752"/>
            <a:ext cx="950876" cy="92601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SC 2.0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SC2.0- leverage SSC to further improve effectiveness and efficiency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US" sz="900" b="1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7" name="Rectangle 96"/>
          <p:cNvSpPr/>
          <p:nvPr/>
        </p:nvSpPr>
        <p:spPr bwMode="auto">
          <a:xfrm>
            <a:off x="9376817" y="4445671"/>
            <a:ext cx="1049129" cy="122450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ts val="540"/>
              </a:spcAft>
              <a:defRPr/>
            </a:pPr>
            <a:r>
              <a:rPr lang="en-US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PM Transformation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ts val="540"/>
              </a:spcAft>
              <a:defRPr/>
            </a:pPr>
            <a:r>
              <a:rPr lang="en-US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PM Transformation utilizing CoE and enhancing insight and business partnering</a:t>
            </a:r>
          </a:p>
        </p:txBody>
      </p:sp>
      <p:sp>
        <p:nvSpPr>
          <p:cNvPr id="98" name="Rectangle 97"/>
          <p:cNvSpPr/>
          <p:nvPr/>
        </p:nvSpPr>
        <p:spPr bwMode="auto">
          <a:xfrm>
            <a:off x="10425946" y="4417971"/>
            <a:ext cx="1280680" cy="55073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reation of CCEP     &amp; Integration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Bringing together the 3 Bottlers (Day1)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CEP Tableau reporting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Germany and Iberia  transition to SSC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upply Chain Finance transition to CoE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08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endParaRPr lang="en-GB" sz="1080" kern="0" dirty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99" name="Picture 98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4670" y="1462233"/>
            <a:ext cx="2176705" cy="895434"/>
          </a:xfrm>
          <a:prstGeom prst="rect">
            <a:avLst/>
          </a:prstGeom>
        </p:spPr>
      </p:pic>
      <p:pic>
        <p:nvPicPr>
          <p:cNvPr id="100" name="Picture 9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819196" y="3941981"/>
            <a:ext cx="780392" cy="859420"/>
          </a:xfrm>
          <a:prstGeom prst="rect">
            <a:avLst/>
          </a:prstGeom>
        </p:spPr>
      </p:pic>
      <p:pic>
        <p:nvPicPr>
          <p:cNvPr id="101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11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31996" y="3345898"/>
            <a:ext cx="548640" cy="548640"/>
          </a:xfrm>
          <a:prstGeom prst="rect">
            <a:avLst/>
          </a:prstGeom>
          <a:noFill/>
        </p:spPr>
      </p:pic>
      <p:sp>
        <p:nvSpPr>
          <p:cNvPr id="102" name="TextBox 101"/>
          <p:cNvSpPr txBox="1"/>
          <p:nvPr/>
        </p:nvSpPr>
        <p:spPr>
          <a:xfrm>
            <a:off x="3416316" y="4892487"/>
            <a:ext cx="615320" cy="27514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defTabSz="7112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sz="1200" b="1">
                <a:solidFill>
                  <a:srgbClr val="C00000">
                    <a:hueOff val="0"/>
                    <a:satOff val="0"/>
                    <a:lumOff val="0"/>
                    <a:alphaOff val="0"/>
                  </a:srgb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defTabSz="853440"/>
            <a:r>
              <a:rPr lang="nl-NL" sz="1320" dirty="0">
                <a:solidFill>
                  <a:srgbClr val="FF0000"/>
                </a:solidFill>
                <a:ea typeface="ＭＳ Ｐゴシック" charset="0"/>
              </a:rPr>
              <a:t>2010</a:t>
            </a:r>
          </a:p>
        </p:txBody>
      </p:sp>
      <p:pic>
        <p:nvPicPr>
          <p:cNvPr id="103" name="Picture 1" descr="C:\Documents and Settings\e39815\Local Settings\Temporary Internet Files\Content.IE5\TQACFCD5\MC900441310[1].png"/>
          <p:cNvPicPr>
            <a:picLocks noChangeAspect="1" noChangeArrowheads="1"/>
          </p:cNvPicPr>
          <p:nvPr/>
        </p:nvPicPr>
        <p:blipFill>
          <a:blip r:embed="rId10" cstate="screen">
            <a:duotone>
              <a:prstClr val="black"/>
              <a:srgbClr val="00B05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5346" y="5324535"/>
            <a:ext cx="459880" cy="459880"/>
          </a:xfrm>
          <a:prstGeom prst="rect">
            <a:avLst/>
          </a:prstGeom>
          <a:noFill/>
        </p:spPr>
      </p:pic>
      <p:sp>
        <p:nvSpPr>
          <p:cNvPr id="104" name="Rectangle 103"/>
          <p:cNvSpPr/>
          <p:nvPr/>
        </p:nvSpPr>
        <p:spPr bwMode="auto">
          <a:xfrm>
            <a:off x="3024232" y="6269962"/>
            <a:ext cx="1319749" cy="84986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92287" tIns="0" rIns="0" bIns="0" spcCol="1270"/>
          <a:lstStyle/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b="1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Germany SSC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kern="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Creation of the Berlin </a:t>
            </a:r>
            <a:r>
              <a:rPr lang="en-US" sz="1080" kern="0" dirty="0">
                <a:solidFill>
                  <a:srgbClr val="FBAAAB">
                    <a:lumMod val="10000"/>
                  </a:srgbClr>
                </a:solidFill>
                <a:latin typeface="Gill Sans MT" panose="020B0502020104020203"/>
              </a:rPr>
              <a:t>Hohenschönhausen</a:t>
            </a:r>
          </a:p>
          <a:p>
            <a:pPr algn="ctr" defTabSz="64008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US" sz="1080" kern="0" dirty="0">
                <a:solidFill>
                  <a:srgbClr val="FBAAAB">
                    <a:lumMod val="10000"/>
                  </a:srgbClr>
                </a:solidFill>
                <a:latin typeface="Calibri" pitchFamily="34" charset="0"/>
                <a:cs typeface="Calibri" pitchFamily="34" charset="0"/>
              </a:rPr>
              <a:t>Moving the finance teams from the sales centres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671" y="2385551"/>
            <a:ext cx="2524364" cy="525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568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1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10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1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9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9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6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8" dur="10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9" dur="1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2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5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8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1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4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5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8" fill="hold">
                      <p:stCondLst>
                        <p:cond delay="indefinite"/>
                      </p:stCondLst>
                      <p:childTnLst>
                        <p:par>
                          <p:cTn id="179" fill="hold">
                            <p:stCondLst>
                              <p:cond delay="0"/>
                            </p:stCondLst>
                            <p:childTnLst>
                              <p:par>
                                <p:cTn id="180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2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3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/>
      <p:bldP spid="78" grpId="0"/>
      <p:bldP spid="80" grpId="0"/>
      <p:bldP spid="81" grpId="0"/>
      <p:bldP spid="83" grpId="0"/>
      <p:bldP spid="84" grpId="0"/>
      <p:bldP spid="85" grpId="0"/>
      <p:bldP spid="86" grpId="0"/>
      <p:bldP spid="92" grpId="0"/>
      <p:bldP spid="93" grpId="0"/>
      <p:bldP spid="94" grpId="0"/>
      <p:bldP spid="95" grpId="0"/>
      <p:bldP spid="96" grpId="0"/>
      <p:bldP spid="97" grpId="0"/>
      <p:bldP spid="98" grpId="0"/>
      <p:bldP spid="102" grpId="0"/>
      <p:bldP spid="10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alXtA5Roms_9QtfxbW3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251B54RBGqUF85LMNN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CpfHnRU2e9yFrT2b_C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o_.1aQQZKD.7yaytYfD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o_.1aQQZKD.7yaytYfD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o_.1aQQZKD.7yaytYfD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p27KUSyCP3NC8nqVW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CC_finance">
      <a:dk1>
        <a:srgbClr val="E1202C"/>
      </a:dk1>
      <a:lt1>
        <a:srgbClr val="FFFFFF"/>
      </a:lt1>
      <a:dk2>
        <a:srgbClr val="4D4553"/>
      </a:dk2>
      <a:lt2>
        <a:srgbClr val="E3E3E3"/>
      </a:lt2>
      <a:accent1>
        <a:srgbClr val="E1202C"/>
      </a:accent1>
      <a:accent2>
        <a:srgbClr val="FE2628"/>
      </a:accent2>
      <a:accent3>
        <a:srgbClr val="A5A5A5"/>
      </a:accent3>
      <a:accent4>
        <a:srgbClr val="E3E3E3"/>
      </a:accent4>
      <a:accent5>
        <a:srgbClr val="9D4956"/>
      </a:accent5>
      <a:accent6>
        <a:srgbClr val="FBAAAB"/>
      </a:accent6>
      <a:hlink>
        <a:srgbClr val="FE2628"/>
      </a:hlink>
      <a:folHlink>
        <a:srgbClr val="B4B4B4"/>
      </a:folHlink>
    </a:clrScheme>
    <a:fontScheme name="Gill Sans MT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9" id="{281DE57F-5184-3446-87AD-316B0E93CC58}" vid="{DB445869-D02D-AA4C-AE5D-A42B9C52293B}"/>
    </a:ext>
  </a:extLst>
</a:theme>
</file>

<file path=ppt/theme/theme3.xml><?xml version="1.0" encoding="utf-8"?>
<a:theme xmlns:a="http://schemas.openxmlformats.org/drawingml/2006/main" name="Tema predeterminado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Tema predeterminado">
  <a:themeElements>
    <a:clrScheme name="CCEP Template">
      <a:dk1>
        <a:srgbClr val="000000"/>
      </a:dk1>
      <a:lt1>
        <a:srgbClr val="FEFFFF"/>
      </a:lt1>
      <a:dk2>
        <a:srgbClr val="7D622E"/>
      </a:dk2>
      <a:lt2>
        <a:srgbClr val="791D7E"/>
      </a:lt2>
      <a:accent1>
        <a:srgbClr val="EEEEEE"/>
      </a:accent1>
      <a:accent2>
        <a:srgbClr val="B3B3B3"/>
      </a:accent2>
      <a:accent3>
        <a:srgbClr val="000000"/>
      </a:accent3>
      <a:accent4>
        <a:srgbClr val="F40009"/>
      </a:accent4>
      <a:accent5>
        <a:srgbClr val="74AA50"/>
      </a:accent5>
      <a:accent6>
        <a:srgbClr val="FFC425"/>
      </a:accent6>
      <a:hlink>
        <a:srgbClr val="B3B3B3"/>
      </a:hlink>
      <a:folHlink>
        <a:srgbClr val="B3B3B3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  <a:effectLst/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/>
      </a:bodyPr>
      <a:lstStyle>
        <a:defPPr>
          <a:defRPr dirty="0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_Tema predeterminado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54_Tema predeterminado">
  <a:themeElements>
    <a:clrScheme name="CCEP Template">
      <a:dk1>
        <a:srgbClr val="000000"/>
      </a:dk1>
      <a:lt1>
        <a:srgbClr val="FEFFFF"/>
      </a:lt1>
      <a:dk2>
        <a:srgbClr val="7D622E"/>
      </a:dk2>
      <a:lt2>
        <a:srgbClr val="791D7E"/>
      </a:lt2>
      <a:accent1>
        <a:srgbClr val="EEEEEE"/>
      </a:accent1>
      <a:accent2>
        <a:srgbClr val="B3B3B3"/>
      </a:accent2>
      <a:accent3>
        <a:srgbClr val="000000"/>
      </a:accent3>
      <a:accent4>
        <a:srgbClr val="F40009"/>
      </a:accent4>
      <a:accent5>
        <a:srgbClr val="74AA50"/>
      </a:accent5>
      <a:accent6>
        <a:srgbClr val="FFC425"/>
      </a:accent6>
      <a:hlink>
        <a:srgbClr val="B3B3B3"/>
      </a:hlink>
      <a:folHlink>
        <a:srgbClr val="B3B3B3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>
          <a:solidFill>
            <a:srgbClr val="C00000"/>
          </a:solidFill>
        </a:ln>
        <a:effectLst/>
      </a:spPr>
      <a:bodyPr rtlCol="0" anchor="ctr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>
        <a:normAutofit/>
      </a:bodyPr>
      <a:lstStyle>
        <a:defPPr>
          <a:defRPr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Coca cola master">
  <a:themeElements>
    <a:clrScheme name="Custom 6">
      <a:dk1>
        <a:srgbClr val="C00000"/>
      </a:dk1>
      <a:lt1>
        <a:srgbClr val="262626"/>
      </a:lt1>
      <a:dk2>
        <a:srgbClr val="FFFFFF"/>
      </a:dk2>
      <a:lt2>
        <a:srgbClr val="A5A5A5"/>
      </a:lt2>
      <a:accent1>
        <a:srgbClr val="D8D8D8"/>
      </a:accent1>
      <a:accent2>
        <a:srgbClr val="262626"/>
      </a:accent2>
      <a:accent3>
        <a:srgbClr val="C1D82F"/>
      </a:accent3>
      <a:accent4>
        <a:srgbClr val="5C5C5C"/>
      </a:accent4>
      <a:accent5>
        <a:srgbClr val="3399CC"/>
      </a:accent5>
      <a:accent6>
        <a:srgbClr val="ED1C16"/>
      </a:accent6>
      <a:hlink>
        <a:srgbClr val="FFC000"/>
      </a:hlink>
      <a:folHlink>
        <a:srgbClr val="626E14"/>
      </a:folHlink>
    </a:clrScheme>
    <a:fontScheme name="Default Design">
      <a:majorFont>
        <a:latin typeface="Palatino"/>
        <a:ea typeface=""/>
        <a:cs typeface="Arial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 w="9525">
          <a:noFill/>
          <a:round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txDef>
      <a:spPr bwMode="auto">
        <a:noFill/>
        <a:ln w="9525">
          <a:noFill/>
          <a:miter lim="800000"/>
          <a:headEnd/>
          <a:tailEnd/>
        </a:ln>
      </a:spPr>
      <a:bodyPr vert="horz" wrap="square" lIns="91440" tIns="45720" rIns="91440" bIns="45720" numCol="1" rtlCol="0" anchor="ctr" anchorCtr="0" compatLnSpc="1">
        <a:prstTxWarp prst="textNoShape">
          <a:avLst/>
        </a:prstTxWarp>
        <a:spAutoFit/>
      </a:bodyPr>
      <a:lstStyle>
        <a:defPPr>
          <a:defRPr sz="1400" dirty="0" smtClean="0">
            <a:solidFill>
              <a:schemeClr val="accent2"/>
            </a:solidFill>
            <a:latin typeface="Avenir LT Std 55 Roman"/>
            <a:cs typeface="Avenir LT Std 55 Roman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blank">
  <a:themeElements>
    <a:clrScheme name="CCEP Colors">
      <a:dk1>
        <a:srgbClr val="000000"/>
      </a:dk1>
      <a:lt1>
        <a:srgbClr val="FFFFFF"/>
      </a:lt1>
      <a:dk2>
        <a:srgbClr val="B3B3B3"/>
      </a:dk2>
      <a:lt2>
        <a:srgbClr val="EEEEEE"/>
      </a:lt2>
      <a:accent1>
        <a:srgbClr val="F40009"/>
      </a:accent1>
      <a:accent2>
        <a:srgbClr val="FFFFFF"/>
      </a:accent2>
      <a:accent3>
        <a:srgbClr val="EEEEEE"/>
      </a:accent3>
      <a:accent4>
        <a:srgbClr val="7D622E"/>
      </a:accent4>
      <a:accent5>
        <a:srgbClr val="FFC425"/>
      </a:accent5>
      <a:accent6>
        <a:srgbClr val="74AA50"/>
      </a:accent6>
      <a:hlink>
        <a:srgbClr val="0000FF"/>
      </a:hlink>
      <a:folHlink>
        <a:srgbClr val="800080"/>
      </a:folHlink>
    </a:clrScheme>
    <a:fontScheme name="Clásico de Office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solidFill>
          <a:srgbClr val="FFFF00"/>
        </a:solidFill>
      </a:spPr>
      <a:bodyPr wrap="square" rtlCol="0">
        <a:spAutoFit/>
      </a:bodyPr>
      <a:lstStyle>
        <a:defPPr algn="ctr">
          <a:defRPr sz="11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5A539D6BCB17C4E836A7101769135F0" ma:contentTypeVersion="10" ma:contentTypeDescription="Create a new document." ma:contentTypeScope="" ma:versionID="092fabfb45fe61c42884fdc477fc9baf">
  <xsd:schema xmlns:xsd="http://www.w3.org/2001/XMLSchema" xmlns:xs="http://www.w3.org/2001/XMLSchema" xmlns:p="http://schemas.microsoft.com/office/2006/metadata/properties" xmlns:ns2="50361cf4-3c05-49fa-8a4d-8589ce0159b7" xmlns:ns3="948f2fef-33ff-4099-9084-249dfa79a80c" targetNamespace="http://schemas.microsoft.com/office/2006/metadata/properties" ma:root="true" ma:fieldsID="c0b8e7990266c46434dfc5f0d4c2aa03" ns2:_="" ns3:_="">
    <xsd:import namespace="50361cf4-3c05-49fa-8a4d-8589ce0159b7"/>
    <xsd:import namespace="948f2fef-33ff-4099-9084-249dfa79a8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361cf4-3c05-49fa-8a4d-8589ce015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8f2fef-33ff-4099-9084-249dfa79a80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F504750-2FEB-4BA0-9532-EAA3BD7EFFB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cd56e12d-d35d-4fe7-a0ec-ea9bcde479b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3898682-A73A-4294-9121-407A3D5533F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3CFA93B-103F-4009-8FBC-D4264724CB23}"/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110</Words>
  <Application>Microsoft Office PowerPoint</Application>
  <PresentationFormat>Custom</PresentationFormat>
  <Paragraphs>278</Paragraphs>
  <Slides>24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52" baseType="lpstr">
      <vt:lpstr>Androgyne</vt:lpstr>
      <vt:lpstr>Arial</vt:lpstr>
      <vt:lpstr>Arial Black</vt:lpstr>
      <vt:lpstr>Avenir LT Std 55 Oblique</vt:lpstr>
      <vt:lpstr>Avenir LT Std 85 Heavy</vt:lpstr>
      <vt:lpstr>Calibri</vt:lpstr>
      <vt:lpstr>Calibri Light</vt:lpstr>
      <vt:lpstr>Courier New</vt:lpstr>
      <vt:lpstr>Gill Sans MT</vt:lpstr>
      <vt:lpstr>Gotham Bold</vt:lpstr>
      <vt:lpstr>Gotham Book</vt:lpstr>
      <vt:lpstr>Gotham Medium</vt:lpstr>
      <vt:lpstr>Helvetica</vt:lpstr>
      <vt:lpstr>Mistral</vt:lpstr>
      <vt:lpstr>Narkisim</vt:lpstr>
      <vt:lpstr>Palatino</vt:lpstr>
      <vt:lpstr>Tahoma</vt:lpstr>
      <vt:lpstr>Wingdings</vt:lpstr>
      <vt:lpstr>1_Office Theme</vt:lpstr>
      <vt:lpstr>Thème Office</vt:lpstr>
      <vt:lpstr>Tema predeterminado</vt:lpstr>
      <vt:lpstr>3_Tema predeterminado</vt:lpstr>
      <vt:lpstr>1_Tema predeterminado</vt:lpstr>
      <vt:lpstr>54_Tema predeterminado</vt:lpstr>
      <vt:lpstr>Coca cola master</vt:lpstr>
      <vt:lpstr>blank</vt:lpstr>
      <vt:lpstr>think-cell Slide</vt:lpstr>
      <vt:lpstr>Diapositive think-cell</vt:lpstr>
      <vt:lpstr>PowerPoint Presentation</vt:lpstr>
      <vt:lpstr>Key Objectives</vt:lpstr>
      <vt:lpstr>Coca-Cola European Partners</vt:lpstr>
      <vt:lpstr>PowerPoint Presentation</vt:lpstr>
      <vt:lpstr>Our Finance Leadership Team, which leads ~1,300 associates across 13 countries</vt:lpstr>
      <vt:lpstr>Our “Finance Service Delivery” Model sets the foundation for our transformation roadmap </vt:lpstr>
      <vt:lpstr>Finance Transformation</vt:lpstr>
      <vt:lpstr>PowerPoint Presentation</vt:lpstr>
      <vt:lpstr>Finance Transformation Journey 2007 to 2019</vt:lpstr>
      <vt:lpstr>PowerPoint Presentation</vt:lpstr>
      <vt:lpstr>The Future of Finance</vt:lpstr>
      <vt:lpstr>PowerPoint Presentation</vt:lpstr>
      <vt:lpstr>PowerPoint Presentation</vt:lpstr>
      <vt:lpstr>Leverage &amp; scale our capabilities in Bulgaria Sofia SSC &amp; CoE capabilities showcased</vt:lpstr>
      <vt:lpstr>Our Central Finance &amp; BPC journey will enable a  step-change in capabilities and further unlock value</vt:lpstr>
      <vt:lpstr>Great People</vt:lpstr>
      <vt:lpstr>PowerPoint Presentation</vt:lpstr>
      <vt:lpstr>Diversity &amp; Inclusion Action Plan  </vt:lpstr>
      <vt:lpstr>Project Compass / Career days roll-out in 2019 to support people development </vt:lpstr>
      <vt:lpstr>Careers Day’s in Bulgaria and GB</vt:lpstr>
      <vt:lpstr>Develop ‘Finance for Non-Finance’ online modules  to enhance financial acumen in business</vt:lpstr>
      <vt:lpstr>We are supporting the ‘Action on Society’ through volunteering program</vt:lpstr>
      <vt:lpstr>Key Take Aways</vt:lpstr>
      <vt:lpstr>PowerPoint Presentation</vt:lpstr>
    </vt:vector>
  </TitlesOfParts>
  <Company>IQP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iara Rosa</dc:creator>
  <cp:lastModifiedBy>Carolina Lindahl</cp:lastModifiedBy>
  <cp:revision>6</cp:revision>
  <cp:lastPrinted>2019-11-01T11:32:15Z</cp:lastPrinted>
  <dcterms:created xsi:type="dcterms:W3CDTF">2017-07-14T15:23:49Z</dcterms:created>
  <dcterms:modified xsi:type="dcterms:W3CDTF">2019-11-18T19:22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5A539D6BCB17C4E836A7101769135F0</vt:lpwstr>
  </property>
</Properties>
</file>